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embeddings/oleObject1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embeddings/oleObject2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embeddings/oleObject3.bin" ContentType="application/vnd.openxmlformats-officedocument.oleObject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embeddings/oleObject4.bin" ContentType="application/vnd.openxmlformats-officedocument.oleObject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embeddings/oleObject5.bin" ContentType="application/vnd.openxmlformats-officedocument.oleObject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embeddings/oleObject6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embeddings/oleObject7.bin" ContentType="application/vnd.openxmlformats-officedocument.oleObject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embeddings/oleObject8.bin" ContentType="application/vnd.openxmlformats-officedocument.oleObject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embeddings/oleObject9.bin" ContentType="application/vnd.openxmlformats-officedocument.oleObject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11"/>
  </p:notesMasterIdLst>
  <p:handoutMasterIdLst>
    <p:handoutMasterId r:id="rId12"/>
  </p:handoutMasterIdLst>
  <p:sldIdLst>
    <p:sldId id="961" r:id="rId3"/>
    <p:sldId id="953" r:id="rId4"/>
    <p:sldId id="960" r:id="rId5"/>
    <p:sldId id="949" r:id="rId6"/>
    <p:sldId id="957" r:id="rId7"/>
    <p:sldId id="951" r:id="rId8"/>
    <p:sldId id="958" r:id="rId9"/>
    <p:sldId id="950" r:id="rId10"/>
  </p:sldIdLst>
  <p:sldSz cx="9144000" cy="6858000" type="screen4x3"/>
  <p:notesSz cx="6794500" cy="99314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jesh Sreenivasan" initials="RS" lastIdx="1" clrIdx="0"/>
  <p:cmAuthor id="1" name="Al-Habeeb" initials="A" lastIdx="1" clrIdx="1"/>
  <p:cmAuthor id="2" name="Veena Sunil Krishna" initials="VSK" lastIdx="0" clrIdx="2"/>
  <p:cmAuthor id="3" name="Jiju Ravikumar" initials="JR" lastIdx="4" clrIdx="3"/>
  <p:cmAuthor id="4" name="Rajkumar Raveendran" initials="RR" lastIdx="1" clrIdx="4"/>
  <p:cmAuthor id="5" name="Rakesh P Kumar" initials="RPK" lastIdx="1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DF"/>
    <a:srgbClr val="FF8000"/>
    <a:srgbClr val="0065CC"/>
    <a:srgbClr val="E26C00"/>
    <a:srgbClr val="D66600"/>
    <a:srgbClr val="FF7A01"/>
    <a:srgbClr val="CC0035"/>
    <a:srgbClr val="808080"/>
    <a:srgbClr val="FF9933"/>
    <a:srgbClr val="DBA2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14" autoAdjust="0"/>
    <p:restoredTop sz="70216" autoAdjust="0"/>
  </p:normalViewPr>
  <p:slideViewPr>
    <p:cSldViewPr snapToGrid="0">
      <p:cViewPr>
        <p:scale>
          <a:sx n="120" d="100"/>
          <a:sy n="120" d="100"/>
        </p:scale>
        <p:origin x="-1104" y="-80"/>
      </p:cViewPr>
      <p:guideLst>
        <p:guide orient="horz" pos="4319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3396" y="-108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tags" Target="tags/tag1.xml"/><Relationship Id="rId15" Type="http://schemas.openxmlformats.org/officeDocument/2006/relationships/commentAuthors" Target="commentAuthors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85775" y="625475"/>
            <a:ext cx="5822950" cy="43672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68649" y="5336540"/>
            <a:ext cx="585721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indent="0" eaLnBrk="1" hangingPunct="1"/>
            <a:r>
              <a:rPr lang="en-US" noProof="0" dirty="0" smtClean="0"/>
              <a:t>Click to edit Master text styles</a:t>
            </a:r>
          </a:p>
          <a:p>
            <a:pPr marL="263965" lvl="1" indent="-262357" eaLnBrk="1" hangingPunct="1">
              <a:buSzPct val="100000"/>
              <a:buFont typeface="Wingdings" pitchFamily="2" charset="2"/>
              <a:buChar char="Ø"/>
            </a:pPr>
            <a:r>
              <a:rPr lang="en-US" noProof="0" dirty="0" smtClean="0"/>
              <a:t>Second level</a:t>
            </a:r>
          </a:p>
          <a:p>
            <a:pPr marL="471596" lvl="2" indent="-206021" eaLnBrk="1" hangingPunct="1">
              <a:buSzPct val="130000"/>
              <a:buFont typeface="Arial" pitchFamily="34" charset="0"/>
              <a:buChar char="▪"/>
            </a:pPr>
            <a:r>
              <a:rPr lang="en-US" noProof="0" dirty="0" smtClean="0"/>
              <a:t>Third level</a:t>
            </a:r>
          </a:p>
          <a:p>
            <a:pPr marL="700152" lvl="3" indent="-228554" eaLnBrk="1" hangingPunct="1">
              <a:buSzPct val="80000"/>
              <a:buFont typeface="Wingdings" pitchFamily="2" charset="2"/>
              <a:buChar char="Ø"/>
            </a:pPr>
            <a:r>
              <a:rPr lang="en-US" noProof="0" dirty="0" smtClean="0"/>
              <a:t>Fourth level</a:t>
            </a:r>
          </a:p>
          <a:p>
            <a:pPr marL="877202" lvl="4" indent="-177050" eaLnBrk="1" hangingPunct="1">
              <a:buSzPct val="100000"/>
              <a:buFont typeface="Arial" pitchFamily="34" charset="0"/>
              <a:buChar char="▪"/>
            </a:pPr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168774" y="9581757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25806" y="11086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1.emf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tags" Target="../tags/tag34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9" Type="http://schemas.openxmlformats.org/officeDocument/2006/relationships/tags" Target="../tags/tag38.xml"/><Relationship Id="rId10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tags" Target="../tags/tag82.xml"/><Relationship Id="rId12" Type="http://schemas.openxmlformats.org/officeDocument/2006/relationships/tags" Target="../tags/tag83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5.bin"/><Relationship Id="rId15" Type="http://schemas.openxmlformats.org/officeDocument/2006/relationships/image" Target="../media/image1.emf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5.vml"/><Relationship Id="rId2" Type="http://schemas.openxmlformats.org/officeDocument/2006/relationships/tags" Target="../tags/tag73.xml"/><Relationship Id="rId3" Type="http://schemas.openxmlformats.org/officeDocument/2006/relationships/tags" Target="../tags/tag74.xml"/><Relationship Id="rId4" Type="http://schemas.openxmlformats.org/officeDocument/2006/relationships/tags" Target="../tags/tag75.xml"/><Relationship Id="rId5" Type="http://schemas.openxmlformats.org/officeDocument/2006/relationships/tags" Target="../tags/tag76.xml"/><Relationship Id="rId6" Type="http://schemas.openxmlformats.org/officeDocument/2006/relationships/tags" Target="../tags/tag77.xml"/><Relationship Id="rId7" Type="http://schemas.openxmlformats.org/officeDocument/2006/relationships/tags" Target="../tags/tag78.xml"/><Relationship Id="rId8" Type="http://schemas.openxmlformats.org/officeDocument/2006/relationships/tags" Target="../tags/tag79.xml"/><Relationship Id="rId9" Type="http://schemas.openxmlformats.org/officeDocument/2006/relationships/tags" Target="../tags/tag80.xml"/><Relationship Id="rId10" Type="http://schemas.openxmlformats.org/officeDocument/2006/relationships/tags" Target="../tags/tag8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8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2960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10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385" y="27701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385" y="435752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Last Modified 26.09.2013 12:49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385" y="59610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Printed 19.09.2013 18:44 W. Europe Standard Time</a:t>
            </a:r>
            <a:endParaRPr lang="en-US" sz="900" baseline="0" noProof="0" dirty="0" smtClean="0"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548385" y="5441965"/>
            <a:ext cx="5036084" cy="607404"/>
            <a:chOff x="1663" y="3071"/>
            <a:chExt cx="3109" cy="37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71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 bwMode="auto">
          <a:xfrm>
            <a:off x="548385" y="2834237"/>
            <a:ext cx="6299200" cy="5078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300" b="1" baseline="0"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 bwMode="auto">
          <a:xfrm>
            <a:off x="548385" y="3513682"/>
            <a:ext cx="6299200" cy="369332"/>
          </a:xfrm>
        </p:spPr>
        <p:txBody>
          <a:bodyPr>
            <a:spAutoFit/>
          </a:bodyPr>
          <a:lstStyle>
            <a:lvl1pPr>
              <a:defRPr sz="2400" baseline="0">
                <a:latin typeface="Arial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0" name="Line 4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548385" y="3427875"/>
            <a:ext cx="6299200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800" dirty="0">
              <a:latin typeface="Arial"/>
              <a:sym typeface="Arial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298443" y="1820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Arial"/>
              <a:ea typeface="+mn-ea"/>
              <a:sym typeface="Arial"/>
            </a:endParaRPr>
          </a:p>
        </p:txBody>
      </p:sp>
      <p:sp>
        <p:nvSpPr>
          <p:cNvPr id="25" name="SlideBottomBa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4" b="27059"/>
          <a:stretch/>
        </p:blipFill>
        <p:spPr>
          <a:xfrm>
            <a:off x="7445057" y="168824"/>
            <a:ext cx="1524000" cy="67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6268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5913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0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385" y="27701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385" y="435752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Last Modified 04.10.2013 16:12 W. Europe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385" y="59610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/>
              </a:rPr>
              <a:t>Printed 20.09.2013 08:47 W. Europe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548385" y="5441965"/>
            <a:ext cx="5036084" cy="607404"/>
            <a:chOff x="1663" y="3071"/>
            <a:chExt cx="3109" cy="37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71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000000"/>
                  </a:solidFill>
                  <a:latin typeface="Arial"/>
                  <a:ea typeface="ＭＳ Ｐゴシック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000000"/>
                  </a:solidFill>
                  <a:latin typeface="Arial"/>
                  <a:ea typeface="ＭＳ Ｐゴシック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 bwMode="auto">
          <a:xfrm>
            <a:off x="548385" y="2834237"/>
            <a:ext cx="6299200" cy="5078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300" b="1" baseline="0"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 bwMode="auto">
          <a:xfrm>
            <a:off x="548385" y="3513682"/>
            <a:ext cx="6299200" cy="369332"/>
          </a:xfrm>
        </p:spPr>
        <p:txBody>
          <a:bodyPr>
            <a:spAutoFit/>
          </a:bodyPr>
          <a:lstStyle>
            <a:lvl1pPr>
              <a:defRPr sz="2400" baseline="0">
                <a:latin typeface="Arial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0" name="Line 4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548385" y="3427875"/>
            <a:ext cx="6299200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8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298443" y="1820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5" name="SlideBottomBa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4" b="27059"/>
          <a:stretch/>
        </p:blipFill>
        <p:spPr>
          <a:xfrm>
            <a:off x="7445057" y="168824"/>
            <a:ext cx="1524000" cy="67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9778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680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480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7.xml"/><Relationship Id="rId21" Type="http://schemas.openxmlformats.org/officeDocument/2006/relationships/tags" Target="../tags/tag18.xml"/><Relationship Id="rId22" Type="http://schemas.openxmlformats.org/officeDocument/2006/relationships/tags" Target="../tags/tag19.xml"/><Relationship Id="rId23" Type="http://schemas.openxmlformats.org/officeDocument/2006/relationships/tags" Target="../tags/tag20.xml"/><Relationship Id="rId24" Type="http://schemas.openxmlformats.org/officeDocument/2006/relationships/tags" Target="../tags/tag21.xml"/><Relationship Id="rId25" Type="http://schemas.openxmlformats.org/officeDocument/2006/relationships/tags" Target="../tags/tag22.xml"/><Relationship Id="rId26" Type="http://schemas.openxmlformats.org/officeDocument/2006/relationships/tags" Target="../tags/tag23.xml"/><Relationship Id="rId27" Type="http://schemas.openxmlformats.org/officeDocument/2006/relationships/tags" Target="../tags/tag24.xml"/><Relationship Id="rId28" Type="http://schemas.openxmlformats.org/officeDocument/2006/relationships/tags" Target="../tags/tag25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30" Type="http://schemas.openxmlformats.org/officeDocument/2006/relationships/tags" Target="../tags/tag27.xml"/><Relationship Id="rId31" Type="http://schemas.openxmlformats.org/officeDocument/2006/relationships/tags" Target="../tags/tag28.xml"/><Relationship Id="rId32" Type="http://schemas.openxmlformats.org/officeDocument/2006/relationships/tags" Target="../tags/tag29.xml"/><Relationship Id="rId9" Type="http://schemas.openxmlformats.org/officeDocument/2006/relationships/tags" Target="../tags/tag6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33" Type="http://schemas.openxmlformats.org/officeDocument/2006/relationships/tags" Target="../tags/tag30.xml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1.emf"/><Relationship Id="rId36" Type="http://schemas.openxmlformats.org/officeDocument/2006/relationships/image" Target="../media/image2.emf"/><Relationship Id="rId10" Type="http://schemas.openxmlformats.org/officeDocument/2006/relationships/tags" Target="../tags/tag7.xml"/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tags" Target="../tags/tag14.xml"/><Relationship Id="rId18" Type="http://schemas.openxmlformats.org/officeDocument/2006/relationships/tags" Target="../tags/tag15.xml"/><Relationship Id="rId19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tags" Target="../tags/tag63.xml"/><Relationship Id="rId25" Type="http://schemas.openxmlformats.org/officeDocument/2006/relationships/tags" Target="../tags/tag64.xml"/><Relationship Id="rId26" Type="http://schemas.openxmlformats.org/officeDocument/2006/relationships/tags" Target="../tags/tag65.xml"/><Relationship Id="rId27" Type="http://schemas.openxmlformats.org/officeDocument/2006/relationships/tags" Target="../tags/tag66.xml"/><Relationship Id="rId28" Type="http://schemas.openxmlformats.org/officeDocument/2006/relationships/tags" Target="../tags/tag67.xml"/><Relationship Id="rId29" Type="http://schemas.openxmlformats.org/officeDocument/2006/relationships/tags" Target="../tags/tag68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4.vml"/><Relationship Id="rId5" Type="http://schemas.openxmlformats.org/officeDocument/2006/relationships/tags" Target="../tags/tag44.xml"/><Relationship Id="rId30" Type="http://schemas.openxmlformats.org/officeDocument/2006/relationships/tags" Target="../tags/tag69.xml"/><Relationship Id="rId31" Type="http://schemas.openxmlformats.org/officeDocument/2006/relationships/tags" Target="../tags/tag70.xml"/><Relationship Id="rId32" Type="http://schemas.openxmlformats.org/officeDocument/2006/relationships/tags" Target="../tags/tag71.xml"/><Relationship Id="rId9" Type="http://schemas.openxmlformats.org/officeDocument/2006/relationships/tags" Target="../tags/tag48.xml"/><Relationship Id="rId6" Type="http://schemas.openxmlformats.org/officeDocument/2006/relationships/tags" Target="../tags/tag45.xml"/><Relationship Id="rId7" Type="http://schemas.openxmlformats.org/officeDocument/2006/relationships/tags" Target="../tags/tag46.xml"/><Relationship Id="rId8" Type="http://schemas.openxmlformats.org/officeDocument/2006/relationships/tags" Target="../tags/tag47.xml"/><Relationship Id="rId33" Type="http://schemas.openxmlformats.org/officeDocument/2006/relationships/tags" Target="../tags/tag72.xml"/><Relationship Id="rId34" Type="http://schemas.openxmlformats.org/officeDocument/2006/relationships/oleObject" Target="../embeddings/oleObject4.bin"/><Relationship Id="rId3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3846589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266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2591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baseline="0" noProof="0" dirty="0">
              <a:latin typeface="Arial"/>
              <a:ea typeface="+mn-ea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286697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74944" y="524517"/>
            <a:ext cx="72188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4944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Arial" pitchFamily="34" charset="0"/>
                <a:ea typeface="+mj-ea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74944" y="6396370"/>
            <a:ext cx="8794112" cy="422753"/>
            <a:chOff x="75" y="3949"/>
            <a:chExt cx="5385" cy="26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9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/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15"/>
              <a:ext cx="47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55613" indent="-455613" defTabSz="913526">
                <a:tabLst>
                  <a:tab pos="625214" algn="l"/>
                </a:tabLst>
              </a:pPr>
              <a:r>
                <a:rPr lang="en-US" sz="1000" baseline="0" noProof="0" dirty="0" smtClean="0">
                  <a:solidFill>
                    <a:schemeClr val="accent6"/>
                  </a:solidFill>
                  <a:latin typeface="Arial" pitchFamily="34" charset="0"/>
                  <a:cs typeface="Arial" pitchFamily="34" charset="0"/>
                </a:rPr>
                <a:t>Source: Source</a:t>
              </a:r>
              <a:endParaRPr lang="en-US" sz="1000" baseline="0" noProof="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22854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Arial" pitchFamily="34" charset="0"/>
                  <a:ea typeface="+mn-ea"/>
                  <a:cs typeface="Arial" pitchFamily="34" charset="0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Arial" pitchFamily="34" charset="0"/>
                  <a:ea typeface="+mn-ea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3" name="Line 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174944" y="893540"/>
            <a:ext cx="8794113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latin typeface="Arial"/>
              <a:sym typeface="Arial"/>
            </a:endParaRPr>
          </a:p>
        </p:txBody>
      </p:sp>
      <p:grpSp>
        <p:nvGrpSpPr>
          <p:cNvPr id="26" name="LegendBox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207850" y="991152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899875" y="991152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>
            <p:custDataLst>
              <p:tags r:id="rId16"/>
            </p:custDataLst>
          </p:nvPr>
        </p:nvGrpSpPr>
        <p:grpSpPr bwMode="auto">
          <a:xfrm>
            <a:off x="7863314" y="991152"/>
            <a:ext cx="1108124" cy="212366"/>
            <a:chOff x="7632651" y="285750"/>
            <a:chExt cx="1108124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32651" y="285750"/>
              <a:ext cx="110812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itchFamily="34" charset="0"/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3265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32651" y="498116"/>
              <a:ext cx="11081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>
            <p:custDataLst>
              <p:tags r:id="rId17"/>
            </p:custDataLst>
          </p:nvPr>
        </p:nvGrpSpPr>
        <p:grpSpPr bwMode="auto">
          <a:xfrm>
            <a:off x="8141008" y="991152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8811963" y="66667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pPr lvl="0" algn="r"/>
              <a:t>‹#›</a:t>
            </a:fld>
            <a:endParaRPr lang="en-US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9" name="Picture 96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8638" y="189574"/>
            <a:ext cx="1522800" cy="643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2"/>
          </a:solidFill>
          <a:latin typeface="Arial"/>
          <a:ea typeface="Arial Unicode MS" pitchFamily="34" charset="-128"/>
          <a:cs typeface="Arial Unicode MS" pitchFamily="34" charset="-128"/>
          <a:sym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1pPr>
      <a:lvl2pPr marL="260350" indent="-2587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2pPr>
      <a:lvl3pPr marL="465138" indent="-2032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3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3pPr>
      <a:lvl4pPr marL="690563" indent="-2254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4pPr>
      <a:lvl5pPr marL="865188" indent="-1746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3989806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629400"/>
            <a:ext cx="91440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286697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74944" y="524517"/>
            <a:ext cx="72188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4944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4" y="93400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74944" y="6396370"/>
            <a:ext cx="8794112" cy="422753"/>
            <a:chOff x="75" y="3949"/>
            <a:chExt cx="5385" cy="26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9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/>
              </a:pPr>
              <a:r>
                <a:rPr lang="en-US" sz="1000" dirty="0" smtClean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15"/>
              <a:ext cx="47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55613" indent="-455613" defTabSz="913526">
                <a:tabLst>
                  <a:tab pos="625214" algn="l"/>
                </a:tabLst>
              </a:pPr>
              <a:r>
                <a:rPr lang="en-US" sz="1000" dirty="0" smtClean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Source: Source</a:t>
              </a:r>
              <a:endParaRPr lang="en-US" sz="1000" dirty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22854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3" name="Line 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174944" y="893540"/>
            <a:ext cx="8794113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26" name="LegendBox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207850" y="991152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899875" y="991152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>
            <p:custDataLst>
              <p:tags r:id="rId16"/>
            </p:custDataLst>
          </p:nvPr>
        </p:nvGrpSpPr>
        <p:grpSpPr bwMode="auto">
          <a:xfrm>
            <a:off x="7863314" y="991152"/>
            <a:ext cx="1108124" cy="212366"/>
            <a:chOff x="7632651" y="285750"/>
            <a:chExt cx="1108124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32651" y="285750"/>
              <a:ext cx="110812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3265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32651" y="498116"/>
              <a:ext cx="11081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>
            <p:custDataLst>
              <p:tags r:id="rId17"/>
            </p:custDataLst>
          </p:nvPr>
        </p:nvGrpSpPr>
        <p:grpSpPr bwMode="auto">
          <a:xfrm>
            <a:off x="8141008" y="991152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8811963" y="66667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808080"/>
                </a:solidFill>
                <a:latin typeface="Arial" pitchFamily="34" charset="0"/>
                <a:ea typeface="ＭＳ Ｐゴシック"/>
                <a:cs typeface="Arial" pitchFamily="34" charset="0"/>
              </a:rPr>
              <a:pPr algn="r"/>
              <a:t>‹#›</a:t>
            </a:fld>
            <a:endParaRPr lang="en-US" dirty="0">
              <a:solidFill>
                <a:srgbClr val="80808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513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2"/>
          </a:solidFill>
          <a:latin typeface="Arial"/>
          <a:ea typeface="Arial Unicode MS" pitchFamily="34" charset="-128"/>
          <a:cs typeface="Arial Unicode MS" pitchFamily="34" charset="-128"/>
          <a:sym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1pPr>
      <a:lvl2pPr marL="260350" indent="-258763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2pPr>
      <a:lvl3pPr marL="465138" indent="-203200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3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3pPr>
      <a:lvl4pPr marL="690563" indent="-2254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Ø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4pPr>
      <a:lvl5pPr marL="865188" indent="-174625" algn="l" defTabSz="913526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▪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tags" Target="../tags/tag87.xml"/><Relationship Id="rId2" Type="http://schemas.openxmlformats.org/officeDocument/2006/relationships/tags" Target="../tags/tag8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89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97.xml"/><Relationship Id="rId20" Type="http://schemas.openxmlformats.org/officeDocument/2006/relationships/image" Target="../media/image6.emf"/><Relationship Id="rId21" Type="http://schemas.openxmlformats.org/officeDocument/2006/relationships/image" Target="../media/image7.emf"/><Relationship Id="rId10" Type="http://schemas.openxmlformats.org/officeDocument/2006/relationships/tags" Target="../tags/tag98.xml"/><Relationship Id="rId11" Type="http://schemas.openxmlformats.org/officeDocument/2006/relationships/tags" Target="../tags/tag99.xml"/><Relationship Id="rId12" Type="http://schemas.openxmlformats.org/officeDocument/2006/relationships/tags" Target="../tags/tag100.xml"/><Relationship Id="rId13" Type="http://schemas.openxmlformats.org/officeDocument/2006/relationships/tags" Target="../tags/tag101.xml"/><Relationship Id="rId14" Type="http://schemas.openxmlformats.org/officeDocument/2006/relationships/tags" Target="../tags/tag102.xml"/><Relationship Id="rId15" Type="http://schemas.openxmlformats.org/officeDocument/2006/relationships/tags" Target="../tags/tag103.xml"/><Relationship Id="rId16" Type="http://schemas.openxmlformats.org/officeDocument/2006/relationships/tags" Target="../tags/tag104.xml"/><Relationship Id="rId17" Type="http://schemas.openxmlformats.org/officeDocument/2006/relationships/tags" Target="../tags/tag105.xml"/><Relationship Id="rId18" Type="http://schemas.openxmlformats.org/officeDocument/2006/relationships/slideLayout" Target="../slideLayouts/slideLayout2.xml"/><Relationship Id="rId19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2" Type="http://schemas.openxmlformats.org/officeDocument/2006/relationships/tags" Target="../tags/tag90.xml"/><Relationship Id="rId3" Type="http://schemas.openxmlformats.org/officeDocument/2006/relationships/tags" Target="../tags/tag91.xml"/><Relationship Id="rId4" Type="http://schemas.openxmlformats.org/officeDocument/2006/relationships/tags" Target="../tags/tag92.xml"/><Relationship Id="rId5" Type="http://schemas.openxmlformats.org/officeDocument/2006/relationships/tags" Target="../tags/tag93.xml"/><Relationship Id="rId6" Type="http://schemas.openxmlformats.org/officeDocument/2006/relationships/tags" Target="../tags/tag94.xml"/><Relationship Id="rId7" Type="http://schemas.openxmlformats.org/officeDocument/2006/relationships/tags" Target="../tags/tag95.xml"/><Relationship Id="rId8" Type="http://schemas.openxmlformats.org/officeDocument/2006/relationships/tags" Target="../tags/tag9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6.xml"/></Relationships>
</file>

<file path=ppt/slides/_rels/slide7.xml.rels><?xml version="1.0" encoding="UTF-8" standalone="yes"?>
<Relationships xmlns="http://schemas.openxmlformats.org/package/2006/relationships"><Relationship Id="rId20" Type="http://schemas.openxmlformats.org/officeDocument/2006/relationships/tags" Target="../tags/tag126.xml"/><Relationship Id="rId21" Type="http://schemas.openxmlformats.org/officeDocument/2006/relationships/tags" Target="../tags/tag127.xml"/><Relationship Id="rId22" Type="http://schemas.openxmlformats.org/officeDocument/2006/relationships/tags" Target="../tags/tag128.xml"/><Relationship Id="rId23" Type="http://schemas.openxmlformats.org/officeDocument/2006/relationships/tags" Target="../tags/tag129.xml"/><Relationship Id="rId24" Type="http://schemas.openxmlformats.org/officeDocument/2006/relationships/tags" Target="../tags/tag130.xml"/><Relationship Id="rId25" Type="http://schemas.openxmlformats.org/officeDocument/2006/relationships/tags" Target="../tags/tag131.xml"/><Relationship Id="rId26" Type="http://schemas.openxmlformats.org/officeDocument/2006/relationships/tags" Target="../tags/tag132.xml"/><Relationship Id="rId27" Type="http://schemas.openxmlformats.org/officeDocument/2006/relationships/tags" Target="../tags/tag133.xml"/><Relationship Id="rId28" Type="http://schemas.openxmlformats.org/officeDocument/2006/relationships/tags" Target="../tags/tag134.xml"/><Relationship Id="rId29" Type="http://schemas.openxmlformats.org/officeDocument/2006/relationships/tags" Target="../tags/tag135.xml"/><Relationship Id="rId1" Type="http://schemas.openxmlformats.org/officeDocument/2006/relationships/vmlDrawing" Target="../drawings/vmlDrawing10.vml"/><Relationship Id="rId2" Type="http://schemas.openxmlformats.org/officeDocument/2006/relationships/tags" Target="../tags/tag108.xml"/><Relationship Id="rId3" Type="http://schemas.openxmlformats.org/officeDocument/2006/relationships/tags" Target="../tags/tag109.xml"/><Relationship Id="rId4" Type="http://schemas.openxmlformats.org/officeDocument/2006/relationships/tags" Target="../tags/tag110.xml"/><Relationship Id="rId5" Type="http://schemas.openxmlformats.org/officeDocument/2006/relationships/tags" Target="../tags/tag111.xml"/><Relationship Id="rId30" Type="http://schemas.openxmlformats.org/officeDocument/2006/relationships/tags" Target="../tags/tag136.xml"/><Relationship Id="rId31" Type="http://schemas.openxmlformats.org/officeDocument/2006/relationships/tags" Target="../tags/tag137.xml"/><Relationship Id="rId32" Type="http://schemas.openxmlformats.org/officeDocument/2006/relationships/slideLayout" Target="../slideLayouts/slideLayout2.xml"/><Relationship Id="rId9" Type="http://schemas.openxmlformats.org/officeDocument/2006/relationships/tags" Target="../tags/tag115.xml"/><Relationship Id="rId6" Type="http://schemas.openxmlformats.org/officeDocument/2006/relationships/tags" Target="../tags/tag112.xml"/><Relationship Id="rId7" Type="http://schemas.openxmlformats.org/officeDocument/2006/relationships/tags" Target="../tags/tag113.xml"/><Relationship Id="rId8" Type="http://schemas.openxmlformats.org/officeDocument/2006/relationships/tags" Target="../tags/tag114.xml"/><Relationship Id="rId33" Type="http://schemas.openxmlformats.org/officeDocument/2006/relationships/oleObject" Target="../embeddings/oleObject10.bin"/><Relationship Id="rId34" Type="http://schemas.openxmlformats.org/officeDocument/2006/relationships/image" Target="../media/image8.emf"/><Relationship Id="rId35" Type="http://schemas.openxmlformats.org/officeDocument/2006/relationships/oleObject" Target="../embeddings/oleObject11.bin"/><Relationship Id="rId36" Type="http://schemas.openxmlformats.org/officeDocument/2006/relationships/image" Target="../media/image9.emf"/><Relationship Id="rId10" Type="http://schemas.openxmlformats.org/officeDocument/2006/relationships/tags" Target="../tags/tag116.xml"/><Relationship Id="rId11" Type="http://schemas.openxmlformats.org/officeDocument/2006/relationships/tags" Target="../tags/tag117.xml"/><Relationship Id="rId12" Type="http://schemas.openxmlformats.org/officeDocument/2006/relationships/tags" Target="../tags/tag118.xml"/><Relationship Id="rId13" Type="http://schemas.openxmlformats.org/officeDocument/2006/relationships/tags" Target="../tags/tag119.xml"/><Relationship Id="rId14" Type="http://schemas.openxmlformats.org/officeDocument/2006/relationships/tags" Target="../tags/tag120.xml"/><Relationship Id="rId15" Type="http://schemas.openxmlformats.org/officeDocument/2006/relationships/tags" Target="../tags/tag121.xml"/><Relationship Id="rId16" Type="http://schemas.openxmlformats.org/officeDocument/2006/relationships/tags" Target="../tags/tag122.xml"/><Relationship Id="rId17" Type="http://schemas.openxmlformats.org/officeDocument/2006/relationships/tags" Target="../tags/tag123.xml"/><Relationship Id="rId18" Type="http://schemas.openxmlformats.org/officeDocument/2006/relationships/tags" Target="../tags/tag124.xml"/><Relationship Id="rId19" Type="http://schemas.openxmlformats.org/officeDocument/2006/relationships/tags" Target="../tags/tag125.xml"/></Relationships>
</file>

<file path=ppt/slides/_rels/slide8.xml.rels><?xml version="1.0" encoding="UTF-8" standalone="yes"?>
<Relationships xmlns="http://schemas.openxmlformats.org/package/2006/relationships"><Relationship Id="rId20" Type="http://schemas.openxmlformats.org/officeDocument/2006/relationships/tags" Target="../tags/tag156.xml"/><Relationship Id="rId21" Type="http://schemas.openxmlformats.org/officeDocument/2006/relationships/tags" Target="../tags/tag157.xml"/><Relationship Id="rId22" Type="http://schemas.openxmlformats.org/officeDocument/2006/relationships/tags" Target="../tags/tag158.xml"/><Relationship Id="rId23" Type="http://schemas.openxmlformats.org/officeDocument/2006/relationships/tags" Target="../tags/tag159.xml"/><Relationship Id="rId24" Type="http://schemas.openxmlformats.org/officeDocument/2006/relationships/tags" Target="../tags/tag160.xml"/><Relationship Id="rId25" Type="http://schemas.openxmlformats.org/officeDocument/2006/relationships/tags" Target="../tags/tag161.xml"/><Relationship Id="rId26" Type="http://schemas.openxmlformats.org/officeDocument/2006/relationships/tags" Target="../tags/tag162.xml"/><Relationship Id="rId27" Type="http://schemas.openxmlformats.org/officeDocument/2006/relationships/tags" Target="../tags/tag163.xml"/><Relationship Id="rId28" Type="http://schemas.openxmlformats.org/officeDocument/2006/relationships/tags" Target="../tags/tag164.xml"/><Relationship Id="rId29" Type="http://schemas.openxmlformats.org/officeDocument/2006/relationships/tags" Target="../tags/tag165.xml"/><Relationship Id="rId1" Type="http://schemas.openxmlformats.org/officeDocument/2006/relationships/vmlDrawing" Target="../drawings/vmlDrawing11.vml"/><Relationship Id="rId2" Type="http://schemas.openxmlformats.org/officeDocument/2006/relationships/tags" Target="../tags/tag138.xml"/><Relationship Id="rId3" Type="http://schemas.openxmlformats.org/officeDocument/2006/relationships/tags" Target="../tags/tag139.xml"/><Relationship Id="rId4" Type="http://schemas.openxmlformats.org/officeDocument/2006/relationships/tags" Target="../tags/tag140.xml"/><Relationship Id="rId5" Type="http://schemas.openxmlformats.org/officeDocument/2006/relationships/tags" Target="../tags/tag141.xml"/><Relationship Id="rId30" Type="http://schemas.openxmlformats.org/officeDocument/2006/relationships/tags" Target="../tags/tag166.xml"/><Relationship Id="rId31" Type="http://schemas.openxmlformats.org/officeDocument/2006/relationships/tags" Target="../tags/tag167.xml"/><Relationship Id="rId32" Type="http://schemas.openxmlformats.org/officeDocument/2006/relationships/tags" Target="../tags/tag168.xml"/><Relationship Id="rId9" Type="http://schemas.openxmlformats.org/officeDocument/2006/relationships/tags" Target="../tags/tag145.xml"/><Relationship Id="rId6" Type="http://schemas.openxmlformats.org/officeDocument/2006/relationships/tags" Target="../tags/tag142.xml"/><Relationship Id="rId7" Type="http://schemas.openxmlformats.org/officeDocument/2006/relationships/tags" Target="../tags/tag143.xml"/><Relationship Id="rId8" Type="http://schemas.openxmlformats.org/officeDocument/2006/relationships/tags" Target="../tags/tag144.xml"/><Relationship Id="rId33" Type="http://schemas.openxmlformats.org/officeDocument/2006/relationships/tags" Target="../tags/tag169.xml"/><Relationship Id="rId34" Type="http://schemas.openxmlformats.org/officeDocument/2006/relationships/slideLayout" Target="../slideLayouts/slideLayout2.xml"/><Relationship Id="rId35" Type="http://schemas.openxmlformats.org/officeDocument/2006/relationships/oleObject" Target="../embeddings/oleObject12.bin"/><Relationship Id="rId36" Type="http://schemas.openxmlformats.org/officeDocument/2006/relationships/image" Target="../media/image8.emf"/><Relationship Id="rId10" Type="http://schemas.openxmlformats.org/officeDocument/2006/relationships/tags" Target="../tags/tag146.xml"/><Relationship Id="rId11" Type="http://schemas.openxmlformats.org/officeDocument/2006/relationships/tags" Target="../tags/tag147.xml"/><Relationship Id="rId12" Type="http://schemas.openxmlformats.org/officeDocument/2006/relationships/tags" Target="../tags/tag148.xml"/><Relationship Id="rId13" Type="http://schemas.openxmlformats.org/officeDocument/2006/relationships/tags" Target="../tags/tag149.xml"/><Relationship Id="rId14" Type="http://schemas.openxmlformats.org/officeDocument/2006/relationships/tags" Target="../tags/tag150.xml"/><Relationship Id="rId15" Type="http://schemas.openxmlformats.org/officeDocument/2006/relationships/tags" Target="../tags/tag151.xml"/><Relationship Id="rId16" Type="http://schemas.openxmlformats.org/officeDocument/2006/relationships/tags" Target="../tags/tag152.xml"/><Relationship Id="rId17" Type="http://schemas.openxmlformats.org/officeDocument/2006/relationships/tags" Target="../tags/tag153.xml"/><Relationship Id="rId18" Type="http://schemas.openxmlformats.org/officeDocument/2006/relationships/tags" Target="../tags/tag154.xml"/><Relationship Id="rId19" Type="http://schemas.openxmlformats.org/officeDocument/2006/relationships/tags" Target="../tags/tag155.xml"/><Relationship Id="rId37" Type="http://schemas.openxmlformats.org/officeDocument/2006/relationships/oleObject" Target="../embeddings/oleObject13.bin"/><Relationship Id="rId38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45908" y="386800"/>
            <a:ext cx="2991403" cy="1107996"/>
          </a:xfrm>
        </p:spPr>
        <p:txBody>
          <a:bodyPr/>
          <a:lstStyle/>
          <a:p>
            <a:pPr algn="r"/>
            <a:r>
              <a:rPr lang="hy-AM" sz="1200" b="0" dirty="0" smtClean="0">
                <a:latin typeface="GHEA Grapalat"/>
                <a:cs typeface="GHEA Grapalat"/>
              </a:rPr>
              <a:t>Հավելված</a:t>
            </a:r>
            <a:r>
              <a:rPr lang="en-US" sz="1200" b="0" dirty="0" smtClean="0">
                <a:latin typeface="GHEA Grapalat"/>
                <a:cs typeface="GHEA Grapalat"/>
              </a:rPr>
              <a:t> 4</a:t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hy-AM" sz="1200" b="0" dirty="0" smtClean="0">
                <a:latin typeface="GHEA Grapalat"/>
                <a:cs typeface="GHEA Grapalat"/>
              </a:rPr>
              <a:t>ՀՀ </a:t>
            </a:r>
            <a:r>
              <a:rPr lang="hy-AM" sz="1200" b="0" dirty="0">
                <a:latin typeface="GHEA Grapalat"/>
                <a:cs typeface="GHEA Grapalat"/>
              </a:rPr>
              <a:t>կառավարության 2013 </a:t>
            </a:r>
            <a:r>
              <a:rPr lang="hy-AM" sz="1200" b="0" dirty="0" smtClean="0">
                <a:latin typeface="GHEA Grapalat"/>
                <a:cs typeface="GHEA Grapalat"/>
              </a:rPr>
              <a:t>թվականի</a:t>
            </a:r>
            <a:r>
              <a:rPr lang="en-US" sz="1200" b="0" dirty="0" smtClean="0">
                <a:latin typeface="GHEA Grapalat"/>
                <a:cs typeface="GHEA Grapalat"/>
              </a:rPr>
              <a:t/>
            </a:r>
            <a:br>
              <a:rPr lang="en-US" sz="1200" b="0" dirty="0" smtClean="0">
                <a:latin typeface="GHEA Grapalat"/>
                <a:cs typeface="GHEA Grapalat"/>
              </a:rPr>
            </a:b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r>
              <a:rPr lang="en-US" sz="1200" b="0" dirty="0">
                <a:latin typeface="GHEA Grapalat"/>
                <a:cs typeface="GHEA Grapalat"/>
              </a:rPr>
              <a:t>-</a:t>
            </a:r>
            <a:r>
              <a:rPr lang="hy-AM" sz="1200" b="0" dirty="0" smtClean="0">
                <a:latin typeface="GHEA Grapalat"/>
                <a:cs typeface="GHEA Grapalat"/>
              </a:rPr>
              <a:t> </a:t>
            </a:r>
            <a:r>
              <a:rPr lang="hy-AM" sz="1200" b="0" dirty="0">
                <a:latin typeface="GHEA Grapalat"/>
                <a:cs typeface="GHEA Grapalat"/>
              </a:rPr>
              <a:t>հոկտեմբերի -ի N - որոշման</a:t>
            </a:r>
            <a:r>
              <a:rPr lang="en-GB" sz="1200" b="0" dirty="0">
                <a:latin typeface="GHEA Grapalat"/>
                <a:cs typeface="GHEA Grapalat"/>
              </a:rPr>
              <a:t/>
            </a:r>
            <a:br>
              <a:rPr lang="en-GB" sz="1200" b="0" dirty="0">
                <a:latin typeface="GHEA Grapalat"/>
                <a:cs typeface="GHEA Grapalat"/>
              </a:rPr>
            </a:br>
            <a:endParaRPr lang="en-US" sz="1200" b="0" dirty="0">
              <a:latin typeface="GHEA Grapalat"/>
              <a:cs typeface="GHEA Grapala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0203" y="2578500"/>
            <a:ext cx="6299200" cy="1600438"/>
          </a:xfrm>
        </p:spPr>
        <p:txBody>
          <a:bodyPr/>
          <a:lstStyle/>
          <a:p>
            <a:pPr lvl="0" algn="ctr"/>
            <a:endParaRPr lang="en-US" sz="2000" cap="all" dirty="0" smtClean="0">
              <a:latin typeface="GHEA Grapalat"/>
              <a:cs typeface="GHEA Grapalat"/>
            </a:endParaRPr>
          </a:p>
          <a:p>
            <a:pPr lvl="0" algn="ctr"/>
            <a:r>
              <a:rPr lang="hy-AM" sz="2000" cap="all" dirty="0" smtClean="0">
                <a:latin typeface="GHEA Grapalat"/>
                <a:cs typeface="GHEA Grapalat"/>
              </a:rPr>
              <a:t>տեղական </a:t>
            </a:r>
            <a:r>
              <a:rPr lang="hy-AM" sz="2000" cap="all" dirty="0">
                <a:latin typeface="GHEA Grapalat"/>
                <a:cs typeface="GHEA Grapalat"/>
              </a:rPr>
              <a:t>ավիափոխադրողի կենսունակության բարձրացմանն ուղղված </a:t>
            </a:r>
            <a:r>
              <a:rPr lang="en-US" sz="2000" cap="all" dirty="0" err="1" smtClean="0">
                <a:latin typeface="GHEA Grapalat"/>
                <a:cs typeface="GHEA Grapalat"/>
              </a:rPr>
              <a:t>Բիզնես</a:t>
            </a:r>
            <a:r>
              <a:rPr lang="en-US" sz="2000" cap="all" dirty="0" smtClean="0">
                <a:latin typeface="GHEA Grapalat"/>
                <a:cs typeface="GHEA Grapalat"/>
              </a:rPr>
              <a:t> </a:t>
            </a:r>
            <a:r>
              <a:rPr lang="en-US" sz="2000" cap="all" dirty="0" err="1" smtClean="0">
                <a:latin typeface="GHEA Grapalat"/>
                <a:cs typeface="GHEA Grapalat"/>
              </a:rPr>
              <a:t>ծրագրի</a:t>
            </a:r>
            <a:r>
              <a:rPr lang="hy-AM" sz="2000" cap="all" dirty="0" smtClean="0">
                <a:latin typeface="GHEA Grapalat"/>
                <a:cs typeface="GHEA Grapalat"/>
              </a:rPr>
              <a:t> </a:t>
            </a:r>
            <a:r>
              <a:rPr lang="hy-AM" sz="2000" cap="all" dirty="0">
                <a:latin typeface="GHEA Grapalat"/>
                <a:cs typeface="GHEA Grapalat"/>
              </a:rPr>
              <a:t>չափանիշները</a:t>
            </a:r>
            <a:endParaRPr lang="en-GB" sz="2000" dirty="0">
              <a:latin typeface="GHEA Grapalat"/>
              <a:cs typeface="GHEA Grapalat"/>
            </a:endParaRPr>
          </a:p>
          <a:p>
            <a:pPr algn="ctr"/>
            <a:endParaRPr lang="en-US" dirty="0">
              <a:latin typeface="GHEA Grapalat"/>
              <a:cs typeface="GHEA Grapala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51364" y="55034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Քաղ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.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Երևան</a:t>
            </a:r>
            <a:endParaRPr lang="en-GB" sz="1200" dirty="0">
              <a:solidFill>
                <a:srgbClr val="000000"/>
              </a:solidFill>
              <a:latin typeface="GHEA Grapalat"/>
              <a:ea typeface="ＭＳ Ｐゴシック"/>
              <a:cs typeface="GHEA Grapalat"/>
            </a:endParaRPr>
          </a:p>
          <a:p>
            <a:pPr algn="ctr"/>
            <a:r>
              <a:rPr lang="en-US" sz="120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-</a:t>
            </a:r>
            <a:r>
              <a:rPr lang="en-US" sz="1200" smtClean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հոկտեմբերի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, 2013 </a:t>
            </a:r>
            <a:r>
              <a:rPr lang="en-US" sz="1200" dirty="0" err="1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թ</a:t>
            </a:r>
            <a:r>
              <a:rPr lang="en-US" sz="1200" dirty="0">
                <a:solidFill>
                  <a:srgbClr val="000000"/>
                </a:solidFill>
                <a:latin typeface="GHEA Grapalat"/>
                <a:ea typeface="ＭＳ Ｐゴシック"/>
                <a:cs typeface="GHEA Grapalat"/>
              </a:rPr>
              <a:t>.</a:t>
            </a:r>
            <a:endParaRPr lang="en-GB" sz="1200" dirty="0">
              <a:solidFill>
                <a:srgbClr val="000000"/>
              </a:solidFill>
              <a:latin typeface="GHEA Grapalat"/>
              <a:ea typeface="ＭＳ Ｐゴシック"/>
              <a:cs typeface="GHEA Grapalat"/>
            </a:endParaRPr>
          </a:p>
        </p:txBody>
      </p:sp>
    </p:spTree>
    <p:extLst>
      <p:ext uri="{BB962C8B-B14F-4D97-AF65-F5344CB8AC3E}">
        <p14:creationId xmlns:p14="http://schemas.microsoft.com/office/powerpoint/2010/main" val="3850598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975" y="93630"/>
            <a:ext cx="7212806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hy-AM" sz="1600" smtClean="0"/>
              <a:t>Երկարաժամկետ գործառնությունների իրականացման համար տեղական ավիափոխադրողին անհրաժեշտ է բարձրակարգ ցանց և գործունեության պրոֆեսիոնալ կազմակերպում</a:t>
            </a:r>
            <a:endParaRPr lang="hy-AM" sz="1600"/>
          </a:p>
        </p:txBody>
      </p:sp>
      <p:sp>
        <p:nvSpPr>
          <p:cNvPr id="20" name="Rectangle 20"/>
          <p:cNvSpPr txBox="1">
            <a:spLocks/>
          </p:cNvSpPr>
          <p:nvPr/>
        </p:nvSpPr>
        <p:spPr bwMode="gray">
          <a:xfrm>
            <a:off x="1264318" y="4914900"/>
            <a:ext cx="6493861" cy="16668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60000"/>
              </a:spcBef>
            </a:pPr>
            <a:r>
              <a:rPr lang="hy-AM" b="1" dirty="0" smtClean="0">
                <a:solidFill>
                  <a:schemeClr val="accent3"/>
                </a:solidFill>
                <a:ea typeface="Arial Unicode MS"/>
              </a:rPr>
              <a:t>Ճիշտ կառավարվող ավիափոխադրողը կարող է ապահովել շահույթի դրական մարժա </a:t>
            </a:r>
          </a:p>
          <a:p>
            <a:pPr lvl="1">
              <a:spcBef>
                <a:spcPct val="30000"/>
              </a:spcBef>
            </a:pPr>
            <a:r>
              <a:rPr lang="hy-AM" dirty="0" smtClean="0">
                <a:ea typeface="Arial Unicode MS"/>
              </a:rPr>
              <a:t>Շահույթի փոքր, բայց դրական մարժա հնարավոր է ապահովել ավիափոխադրողի ճիշտ կառավարման դեպքում </a:t>
            </a:r>
          </a:p>
          <a:p>
            <a:pPr lvl="1">
              <a:spcBef>
                <a:spcPct val="30000"/>
              </a:spcBef>
            </a:pPr>
            <a:r>
              <a:rPr lang="hy-AM" dirty="0" smtClean="0">
                <a:ea typeface="Arial Unicode MS"/>
              </a:rPr>
              <a:t>Տեղական նոր ավիափոխադրողի ստեղծումը պահանջում է մեծ սկզբնական</a:t>
            </a:r>
            <a:r>
              <a:rPr lang="hy-AM" dirty="0" smtClean="0">
                <a:solidFill>
                  <a:srgbClr val="FF0000"/>
                </a:solidFill>
                <a:ea typeface="Arial Unicode MS"/>
              </a:rPr>
              <a:t> </a:t>
            </a:r>
            <a:r>
              <a:rPr lang="hy-AM" dirty="0" smtClean="0">
                <a:ea typeface="Arial Unicode MS"/>
              </a:rPr>
              <a:t>կապիտալ </a:t>
            </a:r>
            <a:endParaRPr lang="hy-AM" dirty="0">
              <a:ea typeface="Arial Unicode M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5215" y="1191422"/>
            <a:ext cx="7894917" cy="3399627"/>
            <a:chOff x="317500" y="1331123"/>
            <a:chExt cx="7894917" cy="3001591"/>
          </a:xfrm>
        </p:grpSpPr>
        <p:sp>
          <p:nvSpPr>
            <p:cNvPr id="24" name="Rectangle 24"/>
            <p:cNvSpPr txBox="1">
              <a:spLocks/>
            </p:cNvSpPr>
            <p:nvPr/>
          </p:nvSpPr>
          <p:spPr bwMode="gray">
            <a:xfrm>
              <a:off x="4444574" y="1331123"/>
              <a:ext cx="3767843" cy="300159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</a:pPr>
              <a:r>
                <a:rPr lang="hy-AM" b="1" dirty="0" smtClean="0">
                  <a:solidFill>
                    <a:schemeClr val="accent3"/>
                  </a:solidFill>
                  <a:ea typeface="Arial Unicode MS"/>
                </a:rPr>
                <a:t>Պրոֆեսիոնալ կազմակերպություն</a:t>
              </a:r>
            </a:p>
            <a:p>
              <a:pPr lvl="1">
                <a:spcBef>
                  <a:spcPct val="50000"/>
                </a:spcBef>
              </a:pPr>
              <a:r>
                <a:rPr lang="hy-AM" dirty="0" smtClean="0">
                  <a:ea typeface="Arial Unicode MS"/>
                </a:rPr>
                <a:t>Պահանջվող բոլոր գործառույթներն ու պարտականություններն իրականացնող և ոլորտի ու շուկայի պահանջներին համապատասխանող պրոֆեսիոնալ կազմակերպություն</a:t>
              </a:r>
            </a:p>
            <a:p>
              <a:pPr lvl="1">
                <a:spcBef>
                  <a:spcPct val="50000"/>
                </a:spcBef>
              </a:pPr>
              <a:r>
                <a:rPr lang="hy-AM" dirty="0" smtClean="0">
                  <a:ea typeface="Arial Unicode MS"/>
                </a:rPr>
                <a:t>Կոմերցիոն ոլորտում բավարար փորձ և կառավարման հմտություններ </a:t>
              </a:r>
              <a:endParaRPr lang="hy-AM" dirty="0">
                <a:ea typeface="Arial Unicode MS"/>
              </a:endParaRPr>
            </a:p>
          </p:txBody>
        </p:sp>
        <p:sp>
          <p:nvSpPr>
            <p:cNvPr id="28" name="Rectangle 28"/>
            <p:cNvSpPr txBox="1">
              <a:spLocks/>
            </p:cNvSpPr>
            <p:nvPr/>
          </p:nvSpPr>
          <p:spPr bwMode="gray">
            <a:xfrm>
              <a:off x="317500" y="1331123"/>
              <a:ext cx="4000500" cy="300159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60350" lvl="1" indent="-258763" defTabSz="913526" eaLnBrk="1" hangingPunct="1">
                <a:buClr>
                  <a:schemeClr val="accent2"/>
                </a:buClr>
                <a:buSzPct val="10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2pPr>
              <a:lvl3pPr marL="465138" lvl="2" indent="-203200" defTabSz="913526" eaLnBrk="1" hangingPunct="1">
                <a:buClr>
                  <a:schemeClr val="accent2"/>
                </a:buClr>
                <a:buSzPct val="13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90563" lvl="3" indent="-225425" defTabSz="913526" eaLnBrk="1" hangingPunct="1">
                <a:buClr>
                  <a:schemeClr val="accent2"/>
                </a:buClr>
                <a:buSzPct val="80000"/>
                <a:buFont typeface="Wingdings" pitchFamily="2" charset="2"/>
                <a:buChar char="Ø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4pPr>
              <a:lvl5pPr marL="865188" lvl="4" indent="-174625" defTabSz="913526" eaLnBrk="1" hangingPunct="1">
                <a:buClr>
                  <a:schemeClr val="accent2"/>
                </a:buClr>
                <a:buSzPct val="100000"/>
                <a:buFont typeface="Arial" pitchFamily="34" charset="0"/>
                <a:buChar char="▪"/>
                <a:defRPr baseline="0"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</a:pPr>
              <a:r>
                <a:rPr lang="hy-AM" b="1" dirty="0" smtClean="0">
                  <a:solidFill>
                    <a:schemeClr val="accent3"/>
                  </a:solidFill>
                  <a:ea typeface="Arial Unicode MS"/>
                </a:rPr>
                <a:t>Երթուղիների ցանց՝ ծավալների աճին զուգահեռ տնտեսմամբ</a:t>
              </a:r>
            </a:p>
            <a:p>
              <a:pPr lvl="1">
                <a:spcBef>
                  <a:spcPct val="50000"/>
                </a:spcBef>
              </a:pPr>
              <a:r>
                <a:rPr lang="hy-AM" dirty="0" smtClean="0">
                  <a:ea typeface="Arial Unicode MS"/>
                </a:rPr>
                <a:t>Բավարար լայնություն և խորություն ունեցող ցանց (ուղղությունների քանակը և նշված ուղղություններով չվերթների հաճախականությունը)</a:t>
              </a:r>
            </a:p>
            <a:p>
              <a:pPr lvl="1">
                <a:spcBef>
                  <a:spcPct val="50000"/>
                </a:spcBef>
              </a:pPr>
              <a:r>
                <a:rPr lang="hy-AM" dirty="0" smtClean="0">
                  <a:ea typeface="Arial Unicode MS"/>
                </a:rPr>
                <a:t>Բավարար քանակությամբ և սահմանված պահանջներին առավելագույնս համապատասխանող օդանավեր հուսալի սպասարկում առաջարկելու և մրցունակ ինքնարժեք ապահովելու նպատակով </a:t>
              </a:r>
              <a:endParaRPr lang="hy-AM" dirty="0">
                <a:ea typeface="Arial Unicode MS"/>
              </a:endParaRPr>
            </a:p>
          </p:txBody>
        </p:sp>
      </p:grpSp>
      <p:sp>
        <p:nvSpPr>
          <p:cNvPr id="14" name="McK DirArrow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794312" y="4508284"/>
            <a:ext cx="5700574" cy="34766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endParaRPr lang="hy-AM" sz="1800"/>
          </a:p>
        </p:txBody>
      </p:sp>
    </p:spTree>
    <p:extLst>
      <p:ext uri="{BB962C8B-B14F-4D97-AF65-F5344CB8AC3E}">
        <p14:creationId xmlns:p14="http://schemas.microsoft.com/office/powerpoint/2010/main" val="23666349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4" y="216741"/>
            <a:ext cx="7218837" cy="615553"/>
          </a:xfrm>
        </p:spPr>
        <p:txBody>
          <a:bodyPr/>
          <a:lstStyle/>
          <a:p>
            <a:r>
              <a:rPr lang="hy-AM" dirty="0" smtClean="0"/>
              <a:t>Ծախսերի և եկամտի օպտիմալացման նպատակով պահանջվում է ցանցի հմուտ կառավարում </a:t>
            </a:r>
            <a:endParaRPr lang="hy-AM" dirty="0"/>
          </a:p>
        </p:txBody>
      </p:sp>
      <p:sp>
        <p:nvSpPr>
          <p:cNvPr id="8" name="McK 1. On-page tracker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4944" y="0"/>
            <a:ext cx="619720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y-AM" sz="1400" dirty="0" smtClean="0">
                <a:solidFill>
                  <a:srgbClr val="808080"/>
                </a:solidFill>
                <a:latin typeface="Arial" pitchFamily="34" charset="0"/>
                <a:ea typeface="+mj-ea"/>
                <a:cs typeface="Arial" pitchFamily="34" charset="0"/>
              </a:rPr>
              <a:t>ԵՐԹՈՒՂԻՆԵՐԻ ՑԱՆՑ՝ ԾԱՎԱԼՆԵՐԻ ԱՃԻՆ ԶՈՒԳԱՀԵՌ ՏՆՏԵՍՄԱՄԲ </a:t>
            </a:r>
          </a:p>
        </p:txBody>
      </p:sp>
      <p:grpSp>
        <p:nvGrpSpPr>
          <p:cNvPr id="9" name="Group 41"/>
          <p:cNvGrpSpPr>
            <a:grpSpLocks/>
          </p:cNvGrpSpPr>
          <p:nvPr/>
        </p:nvGrpSpPr>
        <p:grpSpPr bwMode="auto">
          <a:xfrm>
            <a:off x="1334882" y="2122890"/>
            <a:ext cx="5555255" cy="1911270"/>
            <a:chOff x="827" y="873"/>
            <a:chExt cx="3789" cy="1410"/>
          </a:xfrm>
        </p:grpSpPr>
        <p:sp>
          <p:nvSpPr>
            <p:cNvPr id="10" name="Line 42"/>
            <p:cNvSpPr>
              <a:spLocks noChangeShapeType="1"/>
            </p:cNvSpPr>
            <p:nvPr/>
          </p:nvSpPr>
          <p:spPr bwMode="auto">
            <a:xfrm>
              <a:off x="2279" y="2177"/>
              <a:ext cx="108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y-AM"/>
            </a:p>
          </p:txBody>
        </p:sp>
        <p:sp>
          <p:nvSpPr>
            <p:cNvPr id="11" name="AutoShape 43"/>
            <p:cNvSpPr>
              <a:spLocks noChangeArrowheads="1"/>
            </p:cNvSpPr>
            <p:nvPr/>
          </p:nvSpPr>
          <p:spPr bwMode="auto">
            <a:xfrm rot="20460000">
              <a:off x="2763" y="1547"/>
              <a:ext cx="1352" cy="74"/>
            </a:xfrm>
            <a:prstGeom prst="roundRect">
              <a:avLst>
                <a:gd name="adj" fmla="val 4090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endParaRPr lang="hy-AM"/>
            </a:p>
          </p:txBody>
        </p:sp>
        <p:sp>
          <p:nvSpPr>
            <p:cNvPr id="12" name="AutoShape 44"/>
            <p:cNvSpPr>
              <a:spLocks noChangeArrowheads="1"/>
            </p:cNvSpPr>
            <p:nvPr/>
          </p:nvSpPr>
          <p:spPr bwMode="auto">
            <a:xfrm>
              <a:off x="1500" y="1768"/>
              <a:ext cx="1343" cy="74"/>
            </a:xfrm>
            <a:prstGeom prst="roundRect">
              <a:avLst>
                <a:gd name="adj" fmla="val 4090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2" tIns="45716" rIns="91432" bIns="45716" anchor="ctr"/>
            <a:lstStyle/>
            <a:p>
              <a:endParaRPr lang="hy-AM"/>
            </a:p>
          </p:txBody>
        </p: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1368" y="1500"/>
              <a:ext cx="203" cy="337"/>
            </a:xfrm>
            <a:custGeom>
              <a:avLst/>
              <a:gdLst>
                <a:gd name="T0" fmla="*/ 70 w 203"/>
                <a:gd name="T1" fmla="*/ 16 h 337"/>
                <a:gd name="T2" fmla="*/ 189 w 203"/>
                <a:gd name="T3" fmla="*/ 271 h 337"/>
                <a:gd name="T4" fmla="*/ 201 w 203"/>
                <a:gd name="T5" fmla="*/ 294 h 337"/>
                <a:gd name="T6" fmla="*/ 202 w 203"/>
                <a:gd name="T7" fmla="*/ 306 h 337"/>
                <a:gd name="T8" fmla="*/ 194 w 203"/>
                <a:gd name="T9" fmla="*/ 322 h 337"/>
                <a:gd name="T10" fmla="*/ 175 w 203"/>
                <a:gd name="T11" fmla="*/ 336 h 337"/>
                <a:gd name="T12" fmla="*/ 157 w 203"/>
                <a:gd name="T13" fmla="*/ 336 h 337"/>
                <a:gd name="T14" fmla="*/ 141 w 203"/>
                <a:gd name="T15" fmla="*/ 331 h 337"/>
                <a:gd name="T16" fmla="*/ 132 w 203"/>
                <a:gd name="T17" fmla="*/ 322 h 337"/>
                <a:gd name="T18" fmla="*/ 124 w 203"/>
                <a:gd name="T19" fmla="*/ 314 h 337"/>
                <a:gd name="T20" fmla="*/ 0 w 203"/>
                <a:gd name="T21" fmla="*/ 39 h 337"/>
                <a:gd name="T22" fmla="*/ 0 w 203"/>
                <a:gd name="T23" fmla="*/ 24 h 337"/>
                <a:gd name="T24" fmla="*/ 8 w 203"/>
                <a:gd name="T25" fmla="*/ 16 h 337"/>
                <a:gd name="T26" fmla="*/ 16 w 203"/>
                <a:gd name="T27" fmla="*/ 8 h 337"/>
                <a:gd name="T28" fmla="*/ 23 w 203"/>
                <a:gd name="T29" fmla="*/ 0 h 337"/>
                <a:gd name="T30" fmla="*/ 39 w 203"/>
                <a:gd name="T31" fmla="*/ 0 h 337"/>
                <a:gd name="T32" fmla="*/ 47 w 203"/>
                <a:gd name="T33" fmla="*/ 0 h 337"/>
                <a:gd name="T34" fmla="*/ 62 w 203"/>
                <a:gd name="T35" fmla="*/ 8 h 337"/>
                <a:gd name="T36" fmla="*/ 70 w 203"/>
                <a:gd name="T37" fmla="*/ 1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4002" y="1029"/>
              <a:ext cx="78" cy="366"/>
            </a:xfrm>
            <a:custGeom>
              <a:avLst/>
              <a:gdLst>
                <a:gd name="T0" fmla="*/ 0 w 78"/>
                <a:gd name="T1" fmla="*/ 316 h 366"/>
                <a:gd name="T2" fmla="*/ 0 w 78"/>
                <a:gd name="T3" fmla="*/ 47 h 366"/>
                <a:gd name="T4" fmla="*/ 9 w 78"/>
                <a:gd name="T5" fmla="*/ 24 h 366"/>
                <a:gd name="T6" fmla="*/ 17 w 78"/>
                <a:gd name="T7" fmla="*/ 8 h 366"/>
                <a:gd name="T8" fmla="*/ 24 w 78"/>
                <a:gd name="T9" fmla="*/ 0 h 366"/>
                <a:gd name="T10" fmla="*/ 39 w 78"/>
                <a:gd name="T11" fmla="*/ 0 h 366"/>
                <a:gd name="T12" fmla="*/ 61 w 78"/>
                <a:gd name="T13" fmla="*/ 8 h 366"/>
                <a:gd name="T14" fmla="*/ 69 w 78"/>
                <a:gd name="T15" fmla="*/ 16 h 366"/>
                <a:gd name="T16" fmla="*/ 76 w 78"/>
                <a:gd name="T17" fmla="*/ 24 h 366"/>
                <a:gd name="T18" fmla="*/ 76 w 78"/>
                <a:gd name="T19" fmla="*/ 39 h 366"/>
                <a:gd name="T20" fmla="*/ 77 w 78"/>
                <a:gd name="T21" fmla="*/ 316 h 366"/>
                <a:gd name="T22" fmla="*/ 77 w 78"/>
                <a:gd name="T23" fmla="*/ 344 h 366"/>
                <a:gd name="T24" fmla="*/ 71 w 78"/>
                <a:gd name="T25" fmla="*/ 356 h 366"/>
                <a:gd name="T26" fmla="*/ 60 w 78"/>
                <a:gd name="T27" fmla="*/ 362 h 366"/>
                <a:gd name="T28" fmla="*/ 50 w 78"/>
                <a:gd name="T29" fmla="*/ 365 h 366"/>
                <a:gd name="T30" fmla="*/ 35 w 78"/>
                <a:gd name="T31" fmla="*/ 365 h 366"/>
                <a:gd name="T32" fmla="*/ 24 w 78"/>
                <a:gd name="T33" fmla="*/ 364 h 366"/>
                <a:gd name="T34" fmla="*/ 15 w 78"/>
                <a:gd name="T35" fmla="*/ 361 h 366"/>
                <a:gd name="T36" fmla="*/ 9 w 78"/>
                <a:gd name="T37" fmla="*/ 356 h 366"/>
                <a:gd name="T38" fmla="*/ 2 w 78"/>
                <a:gd name="T39" fmla="*/ 343 h 366"/>
                <a:gd name="T40" fmla="*/ 0 w 78"/>
                <a:gd name="T41" fmla="*/ 31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366">
                  <a:moveTo>
                    <a:pt x="0" y="316"/>
                  </a:moveTo>
                  <a:lnTo>
                    <a:pt x="0" y="47"/>
                  </a:lnTo>
                  <a:lnTo>
                    <a:pt x="9" y="24"/>
                  </a:lnTo>
                  <a:lnTo>
                    <a:pt x="17" y="8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61" y="8"/>
                  </a:lnTo>
                  <a:lnTo>
                    <a:pt x="69" y="16"/>
                  </a:lnTo>
                  <a:lnTo>
                    <a:pt x="76" y="24"/>
                  </a:lnTo>
                  <a:lnTo>
                    <a:pt x="76" y="39"/>
                  </a:lnTo>
                  <a:lnTo>
                    <a:pt x="77" y="316"/>
                  </a:lnTo>
                  <a:lnTo>
                    <a:pt x="77" y="344"/>
                  </a:lnTo>
                  <a:lnTo>
                    <a:pt x="71" y="356"/>
                  </a:lnTo>
                  <a:lnTo>
                    <a:pt x="60" y="362"/>
                  </a:lnTo>
                  <a:lnTo>
                    <a:pt x="50" y="365"/>
                  </a:lnTo>
                  <a:lnTo>
                    <a:pt x="35" y="365"/>
                  </a:lnTo>
                  <a:lnTo>
                    <a:pt x="24" y="364"/>
                  </a:lnTo>
                  <a:lnTo>
                    <a:pt x="15" y="361"/>
                  </a:lnTo>
                  <a:lnTo>
                    <a:pt x="9" y="356"/>
                  </a:lnTo>
                  <a:lnTo>
                    <a:pt x="2" y="343"/>
                  </a:lnTo>
                  <a:lnTo>
                    <a:pt x="0" y="316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538" y="1946"/>
              <a:ext cx="876" cy="337"/>
            </a:xfrm>
            <a:custGeom>
              <a:avLst/>
              <a:gdLst>
                <a:gd name="T0" fmla="*/ 0 w 876"/>
                <a:gd name="T1" fmla="*/ 336 h 337"/>
                <a:gd name="T2" fmla="*/ 875 w 876"/>
                <a:gd name="T3" fmla="*/ 336 h 337"/>
                <a:gd name="T4" fmla="*/ 875 w 876"/>
                <a:gd name="T5" fmla="*/ 223 h 337"/>
                <a:gd name="T6" fmla="*/ 827 w 876"/>
                <a:gd name="T7" fmla="*/ 224 h 337"/>
                <a:gd name="T8" fmla="*/ 788 w 876"/>
                <a:gd name="T9" fmla="*/ 176 h 337"/>
                <a:gd name="T10" fmla="*/ 773 w 876"/>
                <a:gd name="T11" fmla="*/ 136 h 337"/>
                <a:gd name="T12" fmla="*/ 591 w 876"/>
                <a:gd name="T13" fmla="*/ 103 h 337"/>
                <a:gd name="T14" fmla="*/ 504 w 876"/>
                <a:gd name="T15" fmla="*/ 0 h 337"/>
                <a:gd name="T16" fmla="*/ 336 w 876"/>
                <a:gd name="T17" fmla="*/ 0 h 337"/>
                <a:gd name="T18" fmla="*/ 260 w 876"/>
                <a:gd name="T19" fmla="*/ 4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6" h="337">
                  <a:moveTo>
                    <a:pt x="0" y="336"/>
                  </a:moveTo>
                  <a:lnTo>
                    <a:pt x="875" y="336"/>
                  </a:lnTo>
                  <a:lnTo>
                    <a:pt x="875" y="223"/>
                  </a:lnTo>
                  <a:lnTo>
                    <a:pt x="827" y="224"/>
                  </a:lnTo>
                  <a:lnTo>
                    <a:pt x="788" y="176"/>
                  </a:lnTo>
                  <a:lnTo>
                    <a:pt x="773" y="136"/>
                  </a:lnTo>
                  <a:lnTo>
                    <a:pt x="591" y="103"/>
                  </a:lnTo>
                  <a:lnTo>
                    <a:pt x="504" y="0"/>
                  </a:lnTo>
                  <a:lnTo>
                    <a:pt x="336" y="0"/>
                  </a:lnTo>
                  <a:lnTo>
                    <a:pt x="260" y="4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6" name="Freeform 48"/>
            <p:cNvSpPr>
              <a:spLocks/>
            </p:cNvSpPr>
            <p:nvPr/>
          </p:nvSpPr>
          <p:spPr bwMode="auto">
            <a:xfrm>
              <a:off x="2242" y="1761"/>
              <a:ext cx="873" cy="521"/>
            </a:xfrm>
            <a:custGeom>
              <a:avLst/>
              <a:gdLst>
                <a:gd name="T0" fmla="*/ 872 w 873"/>
                <a:gd name="T1" fmla="*/ 520 h 521"/>
                <a:gd name="T2" fmla="*/ 0 w 873"/>
                <a:gd name="T3" fmla="*/ 520 h 521"/>
                <a:gd name="T4" fmla="*/ 0 w 873"/>
                <a:gd name="T5" fmla="*/ 406 h 521"/>
                <a:gd name="T6" fmla="*/ 47 w 873"/>
                <a:gd name="T7" fmla="*/ 406 h 521"/>
                <a:gd name="T8" fmla="*/ 86 w 873"/>
                <a:gd name="T9" fmla="*/ 362 h 521"/>
                <a:gd name="T10" fmla="*/ 104 w 873"/>
                <a:gd name="T11" fmla="*/ 316 h 521"/>
                <a:gd name="T12" fmla="*/ 274 w 873"/>
                <a:gd name="T13" fmla="*/ 291 h 521"/>
                <a:gd name="T14" fmla="*/ 370 w 873"/>
                <a:gd name="T15" fmla="*/ 186 h 521"/>
                <a:gd name="T16" fmla="*/ 530 w 873"/>
                <a:gd name="T17" fmla="*/ 186 h 521"/>
                <a:gd name="T18" fmla="*/ 530 w 873"/>
                <a:gd name="T19" fmla="*/ 84 h 521"/>
                <a:gd name="T20" fmla="*/ 544 w 873"/>
                <a:gd name="T21" fmla="*/ 67 h 521"/>
                <a:gd name="T22" fmla="*/ 544 w 873"/>
                <a:gd name="T23" fmla="*/ 22 h 521"/>
                <a:gd name="T24" fmla="*/ 578 w 873"/>
                <a:gd name="T25" fmla="*/ 0 h 521"/>
                <a:gd name="T26" fmla="*/ 613 w 873"/>
                <a:gd name="T27" fmla="*/ 18 h 521"/>
                <a:gd name="T28" fmla="*/ 613 w 873"/>
                <a:gd name="T29" fmla="*/ 69 h 521"/>
                <a:gd name="T30" fmla="*/ 629 w 873"/>
                <a:gd name="T31" fmla="*/ 84 h 521"/>
                <a:gd name="T32" fmla="*/ 629 w 873"/>
                <a:gd name="T33" fmla="*/ 183 h 521"/>
                <a:gd name="T34" fmla="*/ 638 w 873"/>
                <a:gd name="T35" fmla="*/ 185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3" h="521">
                  <a:moveTo>
                    <a:pt x="872" y="520"/>
                  </a:moveTo>
                  <a:lnTo>
                    <a:pt x="0" y="520"/>
                  </a:lnTo>
                  <a:lnTo>
                    <a:pt x="0" y="406"/>
                  </a:lnTo>
                  <a:lnTo>
                    <a:pt x="47" y="406"/>
                  </a:lnTo>
                  <a:lnTo>
                    <a:pt x="86" y="362"/>
                  </a:lnTo>
                  <a:lnTo>
                    <a:pt x="104" y="316"/>
                  </a:lnTo>
                  <a:lnTo>
                    <a:pt x="274" y="291"/>
                  </a:lnTo>
                  <a:lnTo>
                    <a:pt x="370" y="186"/>
                  </a:lnTo>
                  <a:lnTo>
                    <a:pt x="530" y="186"/>
                  </a:lnTo>
                  <a:lnTo>
                    <a:pt x="530" y="84"/>
                  </a:lnTo>
                  <a:lnTo>
                    <a:pt x="544" y="67"/>
                  </a:lnTo>
                  <a:lnTo>
                    <a:pt x="544" y="22"/>
                  </a:lnTo>
                  <a:lnTo>
                    <a:pt x="578" y="0"/>
                  </a:lnTo>
                  <a:lnTo>
                    <a:pt x="613" y="18"/>
                  </a:lnTo>
                  <a:lnTo>
                    <a:pt x="613" y="69"/>
                  </a:lnTo>
                  <a:lnTo>
                    <a:pt x="629" y="84"/>
                  </a:lnTo>
                  <a:lnTo>
                    <a:pt x="629" y="183"/>
                  </a:lnTo>
                  <a:lnTo>
                    <a:pt x="638" y="185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7" name="Freeform 49"/>
            <p:cNvSpPr>
              <a:spLocks/>
            </p:cNvSpPr>
            <p:nvPr/>
          </p:nvSpPr>
          <p:spPr bwMode="auto">
            <a:xfrm>
              <a:off x="830" y="1342"/>
              <a:ext cx="867" cy="21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1"/>
            </a:solidFill>
            <a:ln w="9525" cap="rnd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827" y="1342"/>
              <a:ext cx="627" cy="217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19" name="Freeform 51"/>
            <p:cNvSpPr>
              <a:spLocks/>
            </p:cNvSpPr>
            <p:nvPr/>
          </p:nvSpPr>
          <p:spPr bwMode="auto">
            <a:xfrm>
              <a:off x="1111" y="1342"/>
              <a:ext cx="867" cy="214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20" name="Freeform 52"/>
            <p:cNvSpPr>
              <a:spLocks/>
            </p:cNvSpPr>
            <p:nvPr/>
          </p:nvSpPr>
          <p:spPr bwMode="auto">
            <a:xfrm>
              <a:off x="1356" y="1341"/>
              <a:ext cx="626" cy="221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21" name="Freeform 53"/>
            <p:cNvSpPr>
              <a:spLocks/>
            </p:cNvSpPr>
            <p:nvPr/>
          </p:nvSpPr>
          <p:spPr bwMode="auto">
            <a:xfrm>
              <a:off x="3464" y="874"/>
              <a:ext cx="867" cy="21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1"/>
            </a:solidFill>
            <a:ln w="9525" cap="rnd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22" name="Freeform 54"/>
            <p:cNvSpPr>
              <a:spLocks/>
            </p:cNvSpPr>
            <p:nvPr/>
          </p:nvSpPr>
          <p:spPr bwMode="auto">
            <a:xfrm>
              <a:off x="3461" y="874"/>
              <a:ext cx="627" cy="217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23" name="Freeform 55"/>
            <p:cNvSpPr>
              <a:spLocks/>
            </p:cNvSpPr>
            <p:nvPr/>
          </p:nvSpPr>
          <p:spPr bwMode="auto">
            <a:xfrm>
              <a:off x="3745" y="874"/>
              <a:ext cx="867" cy="214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  <p:sp>
          <p:nvSpPr>
            <p:cNvPr id="24" name="Freeform 56"/>
            <p:cNvSpPr>
              <a:spLocks/>
            </p:cNvSpPr>
            <p:nvPr/>
          </p:nvSpPr>
          <p:spPr bwMode="auto">
            <a:xfrm>
              <a:off x="3990" y="873"/>
              <a:ext cx="626" cy="221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y-AM"/>
            </a:p>
          </p:txBody>
        </p:sp>
      </p:grpSp>
      <p:sp>
        <p:nvSpPr>
          <p:cNvPr id="37" name="Rectangle 72"/>
          <p:cNvSpPr txBox="1">
            <a:spLocks noChangeArrowheads="1"/>
          </p:cNvSpPr>
          <p:nvPr/>
        </p:nvSpPr>
        <p:spPr>
          <a:xfrm>
            <a:off x="174944" y="4184724"/>
            <a:ext cx="3726343" cy="229986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9" tIns="72009" rIns="72009" bIns="72009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hy-AM" sz="1200" b="1" dirty="0" smtClean="0">
                <a:solidFill>
                  <a:schemeClr val="accent3"/>
                </a:solidFill>
              </a:rPr>
              <a:t>Ցանցի որակով </a:t>
            </a:r>
            <a:r>
              <a:rPr lang="hy-AM" sz="1200" dirty="0" smtClean="0"/>
              <a:t>(ուղղությունների քանակը, հաճախականությունը, մեկնումների ժամերը) պայմանավորված եկամուտ</a:t>
            </a:r>
          </a:p>
          <a:p>
            <a:pPr lvl="1"/>
            <a:r>
              <a:rPr lang="hy-AM" sz="1200" dirty="0" smtClean="0"/>
              <a:t>Հարկավոր է </a:t>
            </a:r>
            <a:r>
              <a:rPr lang="hy-AM" sz="1200" b="1" dirty="0" smtClean="0">
                <a:solidFill>
                  <a:schemeClr val="accent3"/>
                </a:solidFill>
              </a:rPr>
              <a:t>եկամուտների և ծախսերի </a:t>
            </a:r>
            <a:r>
              <a:rPr lang="hy-AM" sz="1200" dirty="0" smtClean="0"/>
              <a:t>ճիշտ հարաբերակցություն, օրինակ՝</a:t>
            </a:r>
          </a:p>
          <a:p>
            <a:pPr lvl="2"/>
            <a:r>
              <a:rPr lang="hy-AM" sz="1200" dirty="0" smtClean="0"/>
              <a:t>Գրավիչ չվացուցակ բարձր հաճախականությամբ չվերթներ իրականացնող փոքր օդանավով, ոչ թե էժան չվերթներ մեծ օդանավով</a:t>
            </a:r>
          </a:p>
          <a:p>
            <a:pPr lvl="1"/>
            <a:r>
              <a:rPr lang="hy-AM" sz="1200" b="1" dirty="0" smtClean="0">
                <a:solidFill>
                  <a:schemeClr val="accent3"/>
                </a:solidFill>
              </a:rPr>
              <a:t>Մեծ ցանցերն ավելի գրավիչ են </a:t>
            </a:r>
            <a:r>
              <a:rPr lang="hy-AM" sz="1200" dirty="0" smtClean="0"/>
              <a:t>և հավելյալ եկամուտ են ձևավորում</a:t>
            </a:r>
          </a:p>
        </p:txBody>
      </p:sp>
      <p:sp>
        <p:nvSpPr>
          <p:cNvPr id="38" name="Rectangle 4"/>
          <p:cNvSpPr txBox="1"/>
          <p:nvPr/>
        </p:nvSpPr>
        <p:spPr>
          <a:xfrm>
            <a:off x="4455098" y="4184724"/>
            <a:ext cx="4515979" cy="231767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200" b="1" dirty="0" smtClean="0">
                <a:solidFill>
                  <a:schemeClr val="accent3"/>
                </a:solidFill>
              </a:rPr>
              <a:t>Ծավալների աճով պայմանավորված տնտեսումը  կնպաստի ինքնարժեքի զգալի նվազեցմանը</a:t>
            </a:r>
          </a:p>
          <a:p>
            <a:pPr lvl="2"/>
            <a:r>
              <a:rPr lang="hy-AM" sz="1200" dirty="0" smtClean="0"/>
              <a:t>Օդանավի արդյունավետ կառավարում (մեկ միջանցքով I տիպի բավարար չափսի ժամանակակից օդանավ, օդանավերի բավարար քանակ)</a:t>
            </a:r>
          </a:p>
          <a:p>
            <a:pPr lvl="2"/>
            <a:r>
              <a:rPr lang="hy-AM" sz="1200" dirty="0" smtClean="0"/>
              <a:t>Մրցունակ ինքնարժեքի ապահովում՝ վրադիր ծախսերի հարաբերականորեն ցածր մասնաբաժնի հաշվին  </a:t>
            </a:r>
          </a:p>
          <a:p>
            <a:pPr lvl="1"/>
            <a:r>
              <a:rPr lang="hy-AM" sz="1200" dirty="0" smtClean="0"/>
              <a:t>Ռիսկ, որ ուղևորների ողջ պոտենցիալ</a:t>
            </a:r>
            <a:r>
              <a:rPr lang="en-US" sz="1200" dirty="0"/>
              <a:t>ը</a:t>
            </a:r>
            <a:r>
              <a:rPr lang="hy-AM" sz="1200" dirty="0" smtClean="0"/>
              <a:t> սպասարկելու ձգտումը կարող է իրականացվել գործառնական արդյունավետության հաշվին, օրինակ՝</a:t>
            </a:r>
          </a:p>
          <a:p>
            <a:pPr lvl="2"/>
            <a:r>
              <a:rPr lang="hy-AM" sz="1200" dirty="0" smtClean="0"/>
              <a:t>Օդանավի օգտագործման բարձր հաճախականություն՝ վաղ/ուշ չվերթներով</a:t>
            </a:r>
            <a:r>
              <a:rPr lang="en-US" sz="1200" dirty="0" smtClean="0"/>
              <a:t>, </a:t>
            </a:r>
            <a:r>
              <a:rPr lang="hy-AM" sz="1200" dirty="0" smtClean="0"/>
              <a:t>միայն ուղևորներին հարմար ժամերին չվերթներ իրականացնել</a:t>
            </a:r>
            <a:r>
              <a:rPr lang="en-US" sz="1200" dirty="0" err="1" smtClean="0"/>
              <a:t>ու</a:t>
            </a:r>
            <a:r>
              <a:rPr lang="en-US" sz="1200" dirty="0" smtClean="0"/>
              <a:t> </a:t>
            </a:r>
            <a:r>
              <a:rPr lang="en-US" sz="1200" dirty="0" err="1" smtClean="0"/>
              <a:t>փոխարեն</a:t>
            </a:r>
            <a:endParaRPr lang="hy-AM" sz="1200" dirty="0"/>
          </a:p>
        </p:txBody>
      </p:sp>
      <p:pic>
        <p:nvPicPr>
          <p:cNvPr id="40" name="Picture 12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10416" y="1754338"/>
            <a:ext cx="1411287" cy="89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" t="10015" r="6654" b="20605"/>
          <a:stretch/>
        </p:blipFill>
        <p:spPr bwMode="auto">
          <a:xfrm>
            <a:off x="5608199" y="1199715"/>
            <a:ext cx="1097277" cy="672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Rectangle 70"/>
          <p:cNvSpPr>
            <a:spLocks noChangeArrowheads="1"/>
          </p:cNvSpPr>
          <p:nvPr/>
        </p:nvSpPr>
        <p:spPr bwMode="auto">
          <a:xfrm>
            <a:off x="1282221" y="1501248"/>
            <a:ext cx="1867677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1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293688" indent="-158750" algn="l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27038" indent="-131763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587375" indent="-158750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445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017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589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161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hy-AM" sz="1400" smtClean="0"/>
              <a:t>Եկամուտ</a:t>
            </a:r>
            <a:endParaRPr lang="hy-AM" sz="1400"/>
          </a:p>
        </p:txBody>
      </p:sp>
      <p:sp>
        <p:nvSpPr>
          <p:cNvPr id="43" name="Rectangle 71"/>
          <p:cNvSpPr>
            <a:spLocks noChangeArrowheads="1"/>
          </p:cNvSpPr>
          <p:nvPr/>
        </p:nvSpPr>
        <p:spPr bwMode="auto">
          <a:xfrm>
            <a:off x="5222999" y="948000"/>
            <a:ext cx="1867677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1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293688" indent="-158750" algn="l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27038" indent="-131763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587375" indent="-158750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445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017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589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16175" indent="-158750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hy-AM" sz="1400" smtClean="0"/>
              <a:t>Ծախս</a:t>
            </a:r>
            <a:endParaRPr lang="hy-AM" sz="1400"/>
          </a:p>
        </p:txBody>
      </p:sp>
    </p:spTree>
    <p:extLst>
      <p:ext uri="{BB962C8B-B14F-4D97-AF65-F5344CB8AC3E}">
        <p14:creationId xmlns:p14="http://schemas.microsoft.com/office/powerpoint/2010/main" val="1035626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4037" name="Object 7640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9551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/>
          </p:cNvSpPr>
          <p:nvPr/>
        </p:nvSpPr>
        <p:spPr bwMode="gray">
          <a:xfrm>
            <a:off x="423373" y="1496497"/>
            <a:ext cx="4015469" cy="471590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200" b="1" dirty="0" smtClean="0">
                <a:solidFill>
                  <a:schemeClr val="accent3"/>
                </a:solidFill>
              </a:rPr>
              <a:t>Ցանցի խորություն. </a:t>
            </a:r>
            <a:r>
              <a:rPr lang="hy-AM" sz="1200" dirty="0" smtClean="0"/>
              <a:t>որոշակի ուղղությամբ չվերթների քանակն ավիաընկերությունների մրցակցության, ինչպես նաև տարբեր սեգմենտների հաճախորդներ ներգրավելու առումով առանցքային գործոն է.</a:t>
            </a:r>
          </a:p>
          <a:p>
            <a:pPr lvl="2">
              <a:spcBef>
                <a:spcPct val="25000"/>
              </a:spcBef>
            </a:pPr>
            <a:r>
              <a:rPr lang="hy-AM" sz="1200" dirty="0" smtClean="0"/>
              <a:t>Նիշային ուղղություններ. բիզնեսի և հանգստի նպատակներով ճանապարհորդելու լատենտ պահանջարկի բավարարում՝ շաբաթական չվերթների առատ քանակությամբ, այդ թվում` որոշակի գերակայող ուղղություններով </a:t>
            </a:r>
          </a:p>
          <a:p>
            <a:pPr lvl="2">
              <a:spcBef>
                <a:spcPct val="25000"/>
              </a:spcBef>
            </a:pPr>
            <a:r>
              <a:rPr lang="hy-AM" sz="1200" dirty="0" smtClean="0"/>
              <a:t>Միջազգային հանգուցային օդանավակայաններ. ալիքային համակարգում ներառված շաբաթական բազմաթիվ չվերթներ (ընդհանուր կոդով՝ ավիափոխադրողների միջև վճարները շրջանցելու համար) հիմնական օդանավակայանների հետ կապն ապահովելու, ուղիղ չվերթների քանակն ավելացնելու և տարանցիկ չվերթների արդյունավետությունը բարձրացնելու համար</a:t>
            </a:r>
          </a:p>
        </p:txBody>
      </p:sp>
      <p:sp>
        <p:nvSpPr>
          <p:cNvPr id="78" name="Title 1"/>
          <p:cNvSpPr txBox="1">
            <a:spLocks/>
          </p:cNvSpPr>
          <p:nvPr/>
        </p:nvSpPr>
        <p:spPr bwMode="gray">
          <a:xfrm>
            <a:off x="174944" y="339852"/>
            <a:ext cx="682772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y-AM" sz="1600" dirty="0" smtClean="0"/>
              <a:t>Գրավիչ պրոդուկտ առաջարկելու համար տեղական ավիափոխադրողը պետք է համապատասխանի որոշակի պահանջների</a:t>
            </a:r>
            <a:endParaRPr lang="hy-AM" sz="1600" dirty="0"/>
          </a:p>
        </p:txBody>
      </p:sp>
      <p:sp>
        <p:nvSpPr>
          <p:cNvPr id="60" name="McK 1. On-page tracker"/>
          <p:cNvSpPr>
            <a:spLocks noChangeArrowheads="1"/>
          </p:cNvSpPr>
          <p:nvPr/>
        </p:nvSpPr>
        <p:spPr bwMode="auto">
          <a:xfrm>
            <a:off x="174944" y="0"/>
            <a:ext cx="60064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y-AM" sz="14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ԵՐԹՈՒՂԻՆԵՐԻ ՑԱՆՑ՝ ԾԱՎԱԼՆԵՐԻ ԱՃԻՆ ԶՈՒԳԱՀԵՌ ՏՆՏԵՍՄԱՄԲ </a:t>
            </a:r>
          </a:p>
        </p:txBody>
      </p:sp>
      <p:sp>
        <p:nvSpPr>
          <p:cNvPr id="61" name="Rectangle 3"/>
          <p:cNvSpPr txBox="1">
            <a:spLocks/>
          </p:cNvSpPr>
          <p:nvPr/>
        </p:nvSpPr>
        <p:spPr bwMode="gray">
          <a:xfrm>
            <a:off x="4621369" y="1496497"/>
            <a:ext cx="4015469" cy="471590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400" b="1" dirty="0" smtClean="0">
                <a:solidFill>
                  <a:schemeClr val="accent3"/>
                </a:solidFill>
              </a:rPr>
              <a:t>Ցանցի լայնություն. </a:t>
            </a:r>
            <a:r>
              <a:rPr lang="hy-AM" sz="1400" dirty="0" smtClean="0"/>
              <a:t>գործող ուղղությունների քանակը (ներառյալ՝ «պարտադիր» ուղղությունները, որոնք այլ կերպ չեն սպասարկվում) կարևոր է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/>
              <a:t>հաճախորդների համար հաղորդակցման պարզեցման</a:t>
            </a:r>
            <a:r>
              <a:rPr lang="en-US" sz="1400" dirty="0" smtClean="0"/>
              <a:t> </a:t>
            </a:r>
            <a:r>
              <a:rPr lang="hy-AM" sz="1400" dirty="0" smtClean="0"/>
              <a:t>(1 կանգառով չվերթներ),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/>
              <a:t>շուկայում բավարար իշխանություն ունենալու տեսանկյունից  </a:t>
            </a:r>
            <a:endParaRPr lang="hy-AM" sz="14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733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4037" name="Object 7640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8405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25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McK 4. Footnote"/>
          <p:cNvSpPr txBox="1">
            <a:spLocks noChangeArrowheads="1"/>
          </p:cNvSpPr>
          <p:nvPr/>
        </p:nvSpPr>
        <p:spPr bwMode="gray">
          <a:xfrm>
            <a:off x="174944" y="6180915"/>
            <a:ext cx="87941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sz="800" smtClean="0">
                <a:latin typeface="Sylfaen" pitchFamily="18" charset="0"/>
              </a:rPr>
              <a:t> 1. Ուղղությունը համարվում է պարտադիր, եթե. կա բավարար պահանջարկ (որը ենթադրում է 10,000 ուղևոր 2013 թ-ի հունվ.-հուն. ամիսներին, կամ երկրների (գլխավոր տասնյակ) միջև զգալի առևտրաշրջանառություն, պոտենցիալ տուրիստական ուղղություններ, 20 000-ից ավել հայկական համայնք ունեցող քաղաքներ):</a:t>
            </a:r>
          </a:p>
          <a:p>
            <a:r>
              <a:rPr lang="hy-AM" sz="800" smtClean="0">
                <a:latin typeface="Sylfaen" pitchFamily="18" charset="0"/>
              </a:rPr>
              <a:t>2. ~70% ծանրաբեռնվածության գործակցով և օդանավի խնամքով շահագործմամբ խոշոր միջազգային ավիափոխադրողի մակարդակով (տարեկան 2700 ժամ` չհաշված սպասարկումը)</a:t>
            </a:r>
            <a:endParaRPr lang="hy-AM" sz="800">
              <a:latin typeface="Sylfaen" pitchFamily="18" charset="0"/>
            </a:endParaRPr>
          </a:p>
        </p:txBody>
      </p:sp>
      <p:sp>
        <p:nvSpPr>
          <p:cNvPr id="44" name="McK 5. Source"/>
          <p:cNvSpPr>
            <a:spLocks noChangeArrowheads="1"/>
          </p:cNvSpPr>
          <p:nvPr/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ր՝ Ավիաընկերությունների պաշտոնական ուղեցույց (OAG analyses), մամուլ</a:t>
            </a:r>
            <a:endParaRPr lang="hy-AM" sz="100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/>
          <p:cNvSpPr>
            <a:spLocks/>
          </p:cNvSpPr>
          <p:nvPr/>
        </p:nvSpPr>
        <p:spPr bwMode="gray">
          <a:xfrm>
            <a:off x="4680228" y="1581497"/>
            <a:ext cx="4151237" cy="37048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hy-AM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 txBox="1">
            <a:spLocks/>
          </p:cNvSpPr>
          <p:nvPr/>
        </p:nvSpPr>
        <p:spPr bwMode="gray">
          <a:xfrm>
            <a:off x="4680228" y="1581496"/>
            <a:ext cx="4151237" cy="57631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b="1" dirty="0" smtClean="0">
                <a:solidFill>
                  <a:schemeClr val="bg1"/>
                </a:solidFill>
                <a:latin typeface="Sylfaen" pitchFamily="18" charset="0"/>
              </a:rPr>
              <a:t>«Պարտադիր» չվերթներ ապահովող ցանցի օրինակ </a:t>
            </a:r>
            <a:r>
              <a:rPr lang="hy-AM" b="1" baseline="30000" dirty="0" smtClean="0">
                <a:solidFill>
                  <a:schemeClr val="bg1"/>
                </a:solidFill>
                <a:latin typeface="Sylfaen" pitchFamily="18" charset="0"/>
              </a:rPr>
              <a:t>1</a:t>
            </a:r>
            <a:r>
              <a:rPr lang="hy-AM" b="1" dirty="0" smtClean="0">
                <a:solidFill>
                  <a:schemeClr val="bg1"/>
                </a:solidFill>
                <a:latin typeface="Sylfaen" pitchFamily="18" charset="0"/>
              </a:rPr>
              <a:t> </a:t>
            </a:r>
            <a:endParaRPr lang="hy-AM" b="1" dirty="0">
              <a:solidFill>
                <a:schemeClr val="bg1"/>
              </a:solidFill>
              <a:latin typeface="Sylfaen" pitchFamily="18" charset="0"/>
            </a:endParaRPr>
          </a:p>
        </p:txBody>
      </p:sp>
      <p:sp>
        <p:nvSpPr>
          <p:cNvPr id="2" name="Rectangle 3"/>
          <p:cNvSpPr txBox="1">
            <a:spLocks/>
          </p:cNvSpPr>
          <p:nvPr/>
        </p:nvSpPr>
        <p:spPr bwMode="gray">
          <a:xfrm>
            <a:off x="427073" y="1581497"/>
            <a:ext cx="4015469" cy="37048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itchFamily="18" charset="0"/>
              </a:rPr>
              <a:t>ՀՀ ավիափոխադրողի ցանցը պետք է ապահովի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չվերթներ</a:t>
            </a:r>
            <a:r>
              <a:rPr lang="hy-AM" sz="1400" b="1" dirty="0" smtClean="0">
                <a:solidFill>
                  <a:srgbClr val="FF0000"/>
                </a:solidFill>
                <a:latin typeface="Sylfaen" pitchFamily="18" charset="0"/>
              </a:rPr>
              <a:t> </a:t>
            </a:r>
            <a:r>
              <a:rPr lang="hy-AM" sz="1400" baseline="30000" dirty="0" smtClean="0">
                <a:latin typeface="Sylfaen" pitchFamily="18" charset="0"/>
              </a:rPr>
              <a:t>1</a:t>
            </a:r>
            <a:r>
              <a:rPr lang="hy-AM" sz="1400" baseline="30000" dirty="0" smtClean="0">
                <a:solidFill>
                  <a:srgbClr val="FF0000"/>
                </a:solidFill>
                <a:latin typeface="Sylfaen" pitchFamily="18" charset="0"/>
              </a:rPr>
              <a:t>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9 «պարտադիր» ուղղություններով</a:t>
            </a:r>
            <a:r>
              <a:rPr lang="hy-AM" sz="1400" dirty="0" smtClean="0">
                <a:latin typeface="Sylfaen" pitchFamily="18" charset="0"/>
              </a:rPr>
              <a:t>, օրինակ՝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itchFamily="18" charset="0"/>
              </a:rPr>
              <a:t>7 նիշային ուղղություն</a:t>
            </a:r>
          </a:p>
          <a:p>
            <a:pPr lvl="2">
              <a:spcBef>
                <a:spcPct val="25000"/>
              </a:spcBef>
            </a:pPr>
            <a:r>
              <a:rPr lang="hy-AM" sz="1400" dirty="0" smtClean="0">
                <a:latin typeface="Sylfaen" pitchFamily="18" charset="0"/>
              </a:rPr>
              <a:t>2 ուղղություն դեպի միջազգային հանգուցային օդանավակայաններ (Փարիզ (համատեղ չվերթներ` ընդհանուր կոդով), Մոսկվա)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itchFamily="18" charset="0"/>
              </a:rPr>
              <a:t>Նշված հաճախականությունն ապահովելու համար յուրաքանչյուր ուղղությամբ պահանջվում է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միջինը</a:t>
            </a:r>
            <a:r>
              <a:rPr lang="hy-AM" sz="1400" dirty="0" smtClean="0">
                <a:latin typeface="Sylfaen" pitchFamily="18" charset="0"/>
              </a:rPr>
              <a:t>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շուկայի 40%  մասնաբաժին կամ</a:t>
            </a:r>
            <a:r>
              <a:rPr lang="hy-AM" sz="1400" dirty="0" smtClean="0">
                <a:latin typeface="Sylfaen" pitchFamily="18" charset="0"/>
              </a:rPr>
              <a:t> տարեկան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~ 600,000 ուղևոր:</a:t>
            </a:r>
            <a:endParaRPr lang="hy-AM" sz="1400" dirty="0" smtClean="0">
              <a:latin typeface="Sylfaen" pitchFamily="18" charset="0"/>
            </a:endParaRP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itchFamily="18" charset="0"/>
              </a:rPr>
              <a:t>A320 տեսակի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նվազագույնը 5 օդանավ`</a:t>
            </a:r>
            <a:r>
              <a:rPr lang="hy-AM" sz="1400" dirty="0" smtClean="0">
                <a:latin typeface="Sylfaen" pitchFamily="18" charset="0"/>
              </a:rPr>
              <a:t>150 նստատեղով</a:t>
            </a:r>
            <a:r>
              <a:rPr lang="hy-AM" sz="1400" baseline="30000" dirty="0" smtClean="0">
                <a:latin typeface="Sylfaen" pitchFamily="18" charset="0"/>
              </a:rPr>
              <a:t>2</a:t>
            </a:r>
            <a:endParaRPr lang="hy-AM" sz="1400" dirty="0">
              <a:latin typeface="Sylfaen" pitchFamily="18" charset="0"/>
            </a:endParaRPr>
          </a:p>
        </p:txBody>
      </p:sp>
      <p:sp>
        <p:nvSpPr>
          <p:cNvPr id="78" name="Title 1"/>
          <p:cNvSpPr txBox="1">
            <a:spLocks/>
          </p:cNvSpPr>
          <p:nvPr/>
        </p:nvSpPr>
        <p:spPr bwMode="gray">
          <a:xfrm>
            <a:off x="174944" y="339852"/>
            <a:ext cx="682772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y-AM" sz="1600" dirty="0" smtClean="0"/>
              <a:t>Բավարար խորություն և լայնություն ունեցող ցանցով ՀՀ մրցունակ ավիափոխադրողին անհրաժեշտ կլինի ունենալ նվազագույնը 5 օդանավ</a:t>
            </a:r>
            <a:endParaRPr lang="hy-AM" sz="1600" dirty="0"/>
          </a:p>
        </p:txBody>
      </p:sp>
      <p:grpSp>
        <p:nvGrpSpPr>
          <p:cNvPr id="26" name="Group 25"/>
          <p:cNvGrpSpPr/>
          <p:nvPr/>
        </p:nvGrpSpPr>
        <p:grpSpPr bwMode="gray">
          <a:xfrm>
            <a:off x="4749955" y="2178657"/>
            <a:ext cx="4066285" cy="278027"/>
            <a:chOff x="4759797" y="1564245"/>
            <a:chExt cx="4066285" cy="278027"/>
          </a:xfrm>
        </p:grpSpPr>
        <p:grpSp>
          <p:nvGrpSpPr>
            <p:cNvPr id="120" name="Group 119"/>
            <p:cNvGrpSpPr/>
            <p:nvPr/>
          </p:nvGrpSpPr>
          <p:grpSpPr bwMode="gray">
            <a:xfrm>
              <a:off x="4759797" y="1596051"/>
              <a:ext cx="1339557" cy="246221"/>
              <a:chOff x="2775425" y="1795838"/>
              <a:chExt cx="1339557" cy="246221"/>
            </a:xfrm>
          </p:grpSpPr>
          <p:sp>
            <p:nvSpPr>
              <p:cNvPr id="128" name="Legend1"/>
              <p:cNvSpPr>
                <a:spLocks noChangeArrowheads="1"/>
              </p:cNvSpPr>
              <p:nvPr/>
            </p:nvSpPr>
            <p:spPr bwMode="gray">
              <a:xfrm>
                <a:off x="3273332" y="1795838"/>
                <a:ext cx="841650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hy-AM" sz="800" smtClean="0">
                    <a:latin typeface="Sylfaen" pitchFamily="18" charset="0"/>
                    <a:cs typeface="Arial" pitchFamily="34" charset="0"/>
                  </a:rPr>
                  <a:t>Շաբաթական</a:t>
                </a:r>
              </a:p>
              <a:p>
                <a:pPr defTabSz="895350">
                  <a:buClr>
                    <a:schemeClr val="tx2"/>
                  </a:buClr>
                </a:pPr>
                <a:r>
                  <a:rPr lang="hy-AM" sz="800" smtClean="0">
                    <a:latin typeface="Sylfaen" pitchFamily="18" charset="0"/>
                    <a:cs typeface="Arial" pitchFamily="34" charset="0"/>
                  </a:rPr>
                  <a:t> 3 չվերթ</a:t>
                </a:r>
                <a:endParaRPr lang="hy-AM" sz="800">
                  <a:latin typeface="Sylfaen" pitchFamily="18" charset="0"/>
                  <a:cs typeface="Arial" pitchFamily="34" charset="0"/>
                </a:endParaRPr>
              </a:p>
            </p:txBody>
          </p:sp>
          <p:sp>
            <p:nvSpPr>
              <p:cNvPr id="129" name="LineLegend1"/>
              <p:cNvSpPr>
                <a:spLocks noChangeShapeType="1"/>
              </p:cNvSpPr>
              <p:nvPr/>
            </p:nvSpPr>
            <p:spPr bwMode="gray">
              <a:xfrm>
                <a:off x="2775425" y="1893596"/>
                <a:ext cx="457200" cy="0"/>
              </a:xfrm>
              <a:prstGeom prst="line">
                <a:avLst/>
              </a:prstGeom>
              <a:noFill/>
              <a:ln w="12700">
                <a:solidFill>
                  <a:srgbClr val="00B050"/>
                </a:solidFill>
                <a:tailEnd type="triangle" w="sm" len="sm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hy-AM">
                  <a:solidFill>
                    <a:schemeClr val="lt1"/>
                  </a:solidFill>
                  <a:latin typeface="Arial"/>
                </a:endParaRPr>
              </a:p>
            </p:txBody>
          </p:sp>
        </p:grpSp>
        <p:grpSp>
          <p:nvGrpSpPr>
            <p:cNvPr id="121" name="Group 120"/>
            <p:cNvGrpSpPr/>
            <p:nvPr/>
          </p:nvGrpSpPr>
          <p:grpSpPr bwMode="gray">
            <a:xfrm>
              <a:off x="6122360" y="1564245"/>
              <a:ext cx="1180858" cy="246221"/>
              <a:chOff x="2775425" y="2033907"/>
              <a:chExt cx="1180858" cy="246221"/>
            </a:xfrm>
          </p:grpSpPr>
          <p:sp>
            <p:nvSpPr>
              <p:cNvPr id="126" name="Legend2"/>
              <p:cNvSpPr>
                <a:spLocks noChangeArrowheads="1"/>
              </p:cNvSpPr>
              <p:nvPr/>
            </p:nvSpPr>
            <p:spPr bwMode="gray">
              <a:xfrm>
                <a:off x="3324700" y="2033907"/>
                <a:ext cx="631583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hy-AM" sz="800" smtClean="0">
                    <a:latin typeface="Sylfaen" pitchFamily="18" charset="0"/>
                    <a:cs typeface="Arial" pitchFamily="34" charset="0"/>
                  </a:rPr>
                  <a:t>Շաբաթական</a:t>
                </a:r>
              </a:p>
              <a:p>
                <a:pPr defTabSz="895350">
                  <a:buClr>
                    <a:schemeClr val="tx2"/>
                  </a:buClr>
                </a:pPr>
                <a:r>
                  <a:rPr lang="hy-AM" sz="800" smtClean="0">
                    <a:latin typeface="Sylfaen" pitchFamily="18" charset="0"/>
                    <a:cs typeface="Arial" pitchFamily="34" charset="0"/>
                  </a:rPr>
                  <a:t> 4 չվերթ</a:t>
                </a:r>
                <a:endParaRPr lang="hy-AM" sz="800">
                  <a:latin typeface="Sylfaen" pitchFamily="18" charset="0"/>
                  <a:cs typeface="Arial" pitchFamily="34" charset="0"/>
                </a:endParaRPr>
              </a:p>
            </p:txBody>
          </p:sp>
          <p:sp>
            <p:nvSpPr>
              <p:cNvPr id="127" name="LineLegend1"/>
              <p:cNvSpPr>
                <a:spLocks noChangeShapeType="1"/>
              </p:cNvSpPr>
              <p:nvPr/>
            </p:nvSpPr>
            <p:spPr bwMode="gray">
              <a:xfrm>
                <a:off x="2775425" y="2163471"/>
                <a:ext cx="457200" cy="0"/>
              </a:xfrm>
              <a:prstGeom prst="line">
                <a:avLst/>
              </a:prstGeom>
              <a:noFill/>
              <a:ln w="12700">
                <a:solidFill>
                  <a:schemeClr val="accent3"/>
                </a:solidFill>
                <a:tailEnd type="triangle" w="sm" len="sm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hy-AM">
                  <a:solidFill>
                    <a:schemeClr val="lt1"/>
                  </a:solidFill>
                  <a:latin typeface="Arial"/>
                </a:endParaRPr>
              </a:p>
            </p:txBody>
          </p:sp>
        </p:grpSp>
        <p:grpSp>
          <p:nvGrpSpPr>
            <p:cNvPr id="122" name="Group 121"/>
            <p:cNvGrpSpPr/>
            <p:nvPr/>
          </p:nvGrpSpPr>
          <p:grpSpPr bwMode="gray">
            <a:xfrm>
              <a:off x="7449657" y="1616865"/>
              <a:ext cx="1376425" cy="153888"/>
              <a:chOff x="2775425" y="2357990"/>
              <a:chExt cx="1376425" cy="153888"/>
            </a:xfrm>
          </p:grpSpPr>
          <p:sp>
            <p:nvSpPr>
              <p:cNvPr id="123" name="Legend3"/>
              <p:cNvSpPr>
                <a:spLocks noChangeArrowheads="1"/>
              </p:cNvSpPr>
              <p:nvPr/>
            </p:nvSpPr>
            <p:spPr bwMode="gray">
              <a:xfrm>
                <a:off x="3324700" y="2357990"/>
                <a:ext cx="827150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hy-AM" sz="1000" smtClean="0">
                    <a:latin typeface="Sylfaen" pitchFamily="18" charset="0"/>
                    <a:cs typeface="Arial" pitchFamily="34" charset="0"/>
                  </a:rPr>
                  <a:t>Օ</a:t>
                </a:r>
                <a:r>
                  <a:rPr lang="hy-AM" sz="800" smtClean="0">
                    <a:latin typeface="Sylfaen" pitchFamily="18" charset="0"/>
                    <a:cs typeface="Arial" pitchFamily="34" charset="0"/>
                  </a:rPr>
                  <a:t>րական 4 չվերթ</a:t>
                </a:r>
                <a:endParaRPr lang="hy-AM" sz="800">
                  <a:latin typeface="Sylfaen" pitchFamily="18" charset="0"/>
                  <a:cs typeface="Arial" pitchFamily="34" charset="0"/>
                </a:endParaRPr>
              </a:p>
            </p:txBody>
          </p:sp>
          <p:sp>
            <p:nvSpPr>
              <p:cNvPr id="124" name="LineLegend1"/>
              <p:cNvSpPr>
                <a:spLocks noChangeShapeType="1"/>
              </p:cNvSpPr>
              <p:nvPr/>
            </p:nvSpPr>
            <p:spPr bwMode="gray">
              <a:xfrm>
                <a:off x="2775425" y="2434934"/>
                <a:ext cx="457200" cy="0"/>
              </a:xfrm>
              <a:prstGeom prst="line">
                <a:avLst/>
              </a:prstGeom>
              <a:noFill/>
              <a:ln w="12700">
                <a:solidFill>
                  <a:srgbClr val="FF0000"/>
                </a:solidFill>
                <a:tailEnd type="triangle" w="sm" len="sm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hy-AM">
                  <a:solidFill>
                    <a:schemeClr val="lt1"/>
                  </a:solidFill>
                  <a:latin typeface="Arial"/>
                </a:endParaRPr>
              </a:p>
            </p:txBody>
          </p:sp>
        </p:grpSp>
      </p:grpSp>
      <p:sp>
        <p:nvSpPr>
          <p:cNvPr id="60" name="McK 1. On-page tracker"/>
          <p:cNvSpPr>
            <a:spLocks noChangeArrowheads="1"/>
          </p:cNvSpPr>
          <p:nvPr/>
        </p:nvSpPr>
        <p:spPr bwMode="auto">
          <a:xfrm>
            <a:off x="174944" y="0"/>
            <a:ext cx="60064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y-AM" sz="140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ԵՐԹՈՒՂԻՆԵՐԻ ՑԱՆՑ՝ ԾԱՎԱԼՆԵՐԻ ԱՃԻՆ ԶՈՒԳԱՀԵՌ ՏՆՏԵՍՄԱՄԲ </a:t>
            </a:r>
          </a:p>
        </p:txBody>
      </p:sp>
      <p:grpSp>
        <p:nvGrpSpPr>
          <p:cNvPr id="61" name="Group 60"/>
          <p:cNvGrpSpPr/>
          <p:nvPr/>
        </p:nvGrpSpPr>
        <p:grpSpPr bwMode="gray">
          <a:xfrm>
            <a:off x="4749033" y="2435592"/>
            <a:ext cx="4013626" cy="2484120"/>
            <a:chOff x="3094745" y="2291080"/>
            <a:chExt cx="4013626" cy="2484120"/>
          </a:xfrm>
        </p:grpSpPr>
        <p:pic>
          <p:nvPicPr>
            <p:cNvPr id="63" name="Picture 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69" t="29273" r="17842" b="25606"/>
            <a:stretch/>
          </p:blipFill>
          <p:spPr bwMode="gray">
            <a:xfrm>
              <a:off x="3094745" y="2291080"/>
              <a:ext cx="4013626" cy="2484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4" name="Freeform 63"/>
            <p:cNvSpPr/>
            <p:nvPr>
              <p:custDataLst>
                <p:tags r:id="rId4"/>
              </p:custDataLst>
            </p:nvPr>
          </p:nvSpPr>
          <p:spPr bwMode="gray">
            <a:xfrm>
              <a:off x="5802859" y="4095872"/>
              <a:ext cx="120702" cy="174503"/>
            </a:xfrm>
            <a:custGeom>
              <a:avLst/>
              <a:gdLst>
                <a:gd name="connsiteX0" fmla="*/ 85725 w 85725"/>
                <a:gd name="connsiteY0" fmla="*/ 0 h 157163"/>
                <a:gd name="connsiteX1" fmla="*/ 85725 w 85725"/>
                <a:gd name="connsiteY1" fmla="*/ 157163 h 157163"/>
                <a:gd name="connsiteX2" fmla="*/ 0 w 85725"/>
                <a:gd name="connsiteY2" fmla="*/ 157163 h 15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725" h="157163">
                  <a:moveTo>
                    <a:pt x="85725" y="0"/>
                  </a:moveTo>
                  <a:lnTo>
                    <a:pt x="85725" y="157163"/>
                  </a:lnTo>
                  <a:lnTo>
                    <a:pt x="0" y="157163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y-AM"/>
            </a:p>
          </p:txBody>
        </p:sp>
        <p:grpSp>
          <p:nvGrpSpPr>
            <p:cNvPr id="65" name="Group 64"/>
            <p:cNvGrpSpPr/>
            <p:nvPr>
              <p:custDataLst>
                <p:tags r:id="rId5"/>
              </p:custDataLst>
            </p:nvPr>
          </p:nvGrpSpPr>
          <p:grpSpPr bwMode="gray">
            <a:xfrm>
              <a:off x="3337505" y="2306109"/>
              <a:ext cx="3411715" cy="2284399"/>
              <a:chOff x="5407605" y="1714289"/>
              <a:chExt cx="3411715" cy="2284399"/>
            </a:xfrm>
          </p:grpSpPr>
          <p:grpSp>
            <p:nvGrpSpPr>
              <p:cNvPr id="66" name="Group 65"/>
              <p:cNvGrpSpPr/>
              <p:nvPr>
                <p:custDataLst>
                  <p:tags r:id="rId6"/>
                </p:custDataLst>
              </p:nvPr>
            </p:nvGrpSpPr>
            <p:grpSpPr bwMode="gray">
              <a:xfrm>
                <a:off x="5407605" y="1714289"/>
                <a:ext cx="3411715" cy="2284399"/>
                <a:chOff x="5407605" y="1714289"/>
                <a:chExt cx="3411715" cy="2284399"/>
              </a:xfrm>
            </p:grpSpPr>
            <p:sp>
              <p:nvSpPr>
                <p:cNvPr id="133" name="Rectangle 16"/>
                <p:cNvSpPr>
                  <a:spLocks noChangeArrowheads="1"/>
                </p:cNvSpPr>
                <p:nvPr/>
              </p:nvSpPr>
              <p:spPr bwMode="gray">
                <a:xfrm>
                  <a:off x="6965606" y="2617900"/>
                  <a:ext cx="189154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Կիև</a:t>
                  </a:r>
                </a:p>
              </p:txBody>
            </p:sp>
            <p:sp>
              <p:nvSpPr>
                <p:cNvPr id="134" name="Rectangle 17"/>
                <p:cNvSpPr>
                  <a:spLocks noChangeArrowheads="1"/>
                </p:cNvSpPr>
                <p:nvPr/>
              </p:nvSpPr>
              <p:spPr bwMode="gray">
                <a:xfrm>
                  <a:off x="7940874" y="3015092"/>
                  <a:ext cx="878446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effectLst/>
                    </a:rPr>
                    <a:t>Միներալնիե Վոդի</a:t>
                  </a:r>
                </a:p>
              </p:txBody>
            </p:sp>
            <p:sp>
              <p:nvSpPr>
                <p:cNvPr id="135" name="Rectangle 18"/>
                <p:cNvSpPr>
                  <a:spLocks noChangeArrowheads="1"/>
                </p:cNvSpPr>
                <p:nvPr/>
              </p:nvSpPr>
              <p:spPr bwMode="gray">
                <a:xfrm>
                  <a:off x="7662139" y="2137494"/>
                  <a:ext cx="400751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Մոսկվա</a:t>
                  </a:r>
                </a:p>
              </p:txBody>
            </p:sp>
            <p:sp>
              <p:nvSpPr>
                <p:cNvPr id="136" name="Rectangle 19"/>
                <p:cNvSpPr>
                  <a:spLocks noChangeArrowheads="1"/>
                </p:cNvSpPr>
                <p:nvPr/>
              </p:nvSpPr>
              <p:spPr bwMode="gray">
                <a:xfrm>
                  <a:off x="7751860" y="2859185"/>
                  <a:ext cx="400751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Ռոստով</a:t>
                  </a:r>
                </a:p>
              </p:txBody>
            </p:sp>
            <p:sp>
              <p:nvSpPr>
                <p:cNvPr id="137" name="Rectangle 20"/>
                <p:cNvSpPr>
                  <a:spLocks noChangeArrowheads="1"/>
                </p:cNvSpPr>
                <p:nvPr/>
              </p:nvSpPr>
              <p:spPr bwMode="gray">
                <a:xfrm>
                  <a:off x="7451494" y="3170304"/>
                  <a:ext cx="234038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hy-AM" sz="800" b="1" smtClean="0">
                      <a:solidFill>
                        <a:srgbClr val="000000"/>
                      </a:solidFill>
                    </a:rPr>
                    <a:t>Սոչի</a:t>
                  </a:r>
                  <a:endParaRPr kumimoji="0" lang="hy-AM" sz="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8" name="Rectangle 21"/>
                <p:cNvSpPr>
                  <a:spLocks noChangeArrowheads="1"/>
                </p:cNvSpPr>
                <p:nvPr/>
              </p:nvSpPr>
              <p:spPr bwMode="gray">
                <a:xfrm>
                  <a:off x="7258102" y="1714289"/>
                  <a:ext cx="981038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Սանկտ Պետերբուրգ</a:t>
                  </a:r>
                </a:p>
              </p:txBody>
            </p:sp>
            <p:sp>
              <p:nvSpPr>
                <p:cNvPr id="139" name="Rectangle 22"/>
                <p:cNvSpPr>
                  <a:spLocks noChangeArrowheads="1"/>
                </p:cNvSpPr>
                <p:nvPr/>
              </p:nvSpPr>
              <p:spPr bwMode="gray">
                <a:xfrm>
                  <a:off x="8172860" y="3875577"/>
                  <a:ext cx="397545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Թեհրան</a:t>
                  </a:r>
                </a:p>
              </p:txBody>
            </p:sp>
            <p:sp>
              <p:nvSpPr>
                <p:cNvPr id="140" name="Rectangle 23"/>
                <p:cNvSpPr>
                  <a:spLocks noChangeArrowheads="1"/>
                </p:cNvSpPr>
                <p:nvPr/>
              </p:nvSpPr>
              <p:spPr bwMode="gray">
                <a:xfrm>
                  <a:off x="5407605" y="2844501"/>
                  <a:ext cx="330219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Փարիզ</a:t>
                  </a:r>
                </a:p>
              </p:txBody>
            </p:sp>
            <p:sp>
              <p:nvSpPr>
                <p:cNvPr id="141" name="Rectangle 24"/>
                <p:cNvSpPr>
                  <a:spLocks noChangeArrowheads="1"/>
                </p:cNvSpPr>
                <p:nvPr/>
              </p:nvSpPr>
              <p:spPr bwMode="gray">
                <a:xfrm>
                  <a:off x="8028439" y="3279913"/>
                  <a:ext cx="397545" cy="1231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hy-AM" sz="8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Թբիլիսի</a:t>
                  </a:r>
                  <a:endParaRPr kumimoji="0" lang="hy-AM" sz="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67" name="Rectangle 14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6880080" y="3548000"/>
                <a:ext cx="976228" cy="21544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/>
                <a:r>
                  <a:rPr lang="hy-AM" sz="1400" b="1" smtClean="0">
                    <a:solidFill>
                      <a:schemeClr val="accent4"/>
                    </a:solidFill>
                    <a:latin typeface="Arial"/>
                    <a:cs typeface="Arial" pitchFamily="34" charset="0"/>
                    <a:sym typeface="Arial"/>
                  </a:rPr>
                  <a:t>Հայաստան </a:t>
                </a:r>
                <a:endParaRPr lang="hy-AM" sz="1400" b="1">
                  <a:solidFill>
                    <a:schemeClr val="accent4"/>
                  </a:solidFill>
                  <a:latin typeface="Arial"/>
                  <a:cs typeface="Arial" pitchFamily="34" charset="0"/>
                  <a:sym typeface="Arial"/>
                </a:endParaRPr>
              </a:p>
            </p:txBody>
          </p:sp>
          <p:grpSp>
            <p:nvGrpSpPr>
              <p:cNvPr id="68" name="Group 67"/>
              <p:cNvGrpSpPr/>
              <p:nvPr/>
            </p:nvGrpSpPr>
            <p:grpSpPr bwMode="gray">
              <a:xfrm>
                <a:off x="5663024" y="1784913"/>
                <a:ext cx="2731719" cy="2022752"/>
                <a:chOff x="5372100" y="2636520"/>
                <a:chExt cx="3538072" cy="2619829"/>
              </a:xfrm>
            </p:grpSpPr>
            <p:sp>
              <p:nvSpPr>
                <p:cNvPr id="116" name="Freeform 115"/>
                <p:cNvSpPr/>
                <p:nvPr>
                  <p:custDataLst>
                    <p:tags r:id="rId11"/>
                  </p:custDataLst>
                </p:nvPr>
              </p:nvSpPr>
              <p:spPr bwMode="gray">
                <a:xfrm>
                  <a:off x="7171635" y="3848100"/>
                  <a:ext cx="1178615" cy="1023751"/>
                </a:xfrm>
                <a:custGeom>
                  <a:avLst/>
                  <a:gdLst>
                    <a:gd name="connsiteX0" fmla="*/ 1173557 w 1173557"/>
                    <a:gd name="connsiteY0" fmla="*/ 984250 h 984250"/>
                    <a:gd name="connsiteX1" fmla="*/ 81357 w 1173557"/>
                    <a:gd name="connsiteY1" fmla="*/ 774700 h 984250"/>
                    <a:gd name="connsiteX2" fmla="*/ 163907 w 1173557"/>
                    <a:gd name="connsiteY2" fmla="*/ 0 h 984250"/>
                    <a:gd name="connsiteX0" fmla="*/ 1173557 w 1173557"/>
                    <a:gd name="connsiteY0" fmla="*/ 984250 h 1001187"/>
                    <a:gd name="connsiteX1" fmla="*/ 81357 w 1173557"/>
                    <a:gd name="connsiteY1" fmla="*/ 774700 h 1001187"/>
                    <a:gd name="connsiteX2" fmla="*/ 163907 w 1173557"/>
                    <a:gd name="connsiteY2" fmla="*/ 0 h 1001187"/>
                    <a:gd name="connsiteX0" fmla="*/ 1172452 w 1172452"/>
                    <a:gd name="connsiteY0" fmla="*/ 1006475 h 1023751"/>
                    <a:gd name="connsiteX1" fmla="*/ 80252 w 1172452"/>
                    <a:gd name="connsiteY1" fmla="*/ 796925 h 1023751"/>
                    <a:gd name="connsiteX2" fmla="*/ 165977 w 1172452"/>
                    <a:gd name="connsiteY2" fmla="*/ 0 h 1023751"/>
                    <a:gd name="connsiteX0" fmla="*/ 1178615 w 1178615"/>
                    <a:gd name="connsiteY0" fmla="*/ 1006475 h 1023751"/>
                    <a:gd name="connsiteX1" fmla="*/ 86415 w 1178615"/>
                    <a:gd name="connsiteY1" fmla="*/ 796925 h 1023751"/>
                    <a:gd name="connsiteX2" fmla="*/ 172140 w 1178615"/>
                    <a:gd name="connsiteY2" fmla="*/ 0 h 1023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8615" h="1023751">
                      <a:moveTo>
                        <a:pt x="1178615" y="1006475"/>
                      </a:moveTo>
                      <a:cubicBezTo>
                        <a:pt x="742052" y="1066271"/>
                        <a:pt x="254161" y="964671"/>
                        <a:pt x="86415" y="796925"/>
                      </a:cubicBezTo>
                      <a:cubicBezTo>
                        <a:pt x="-81331" y="629179"/>
                        <a:pt x="21327" y="283104"/>
                        <a:pt x="172140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17" name="Freeform 116"/>
                <p:cNvSpPr/>
                <p:nvPr>
                  <p:custDataLst>
                    <p:tags r:id="rId12"/>
                  </p:custDataLst>
                </p:nvPr>
              </p:nvSpPr>
              <p:spPr bwMode="gray">
                <a:xfrm>
                  <a:off x="8152993" y="4489450"/>
                  <a:ext cx="225832" cy="323850"/>
                </a:xfrm>
                <a:custGeom>
                  <a:avLst/>
                  <a:gdLst>
                    <a:gd name="connsiteX0" fmla="*/ 258622 w 258622"/>
                    <a:gd name="connsiteY0" fmla="*/ 336550 h 336550"/>
                    <a:gd name="connsiteX1" fmla="*/ 4622 w 258622"/>
                    <a:gd name="connsiteY1" fmla="*/ 260350 h 336550"/>
                    <a:gd name="connsiteX2" fmla="*/ 118922 w 258622"/>
                    <a:gd name="connsiteY2" fmla="*/ 0 h 336550"/>
                    <a:gd name="connsiteX0" fmla="*/ 255287 w 255287"/>
                    <a:gd name="connsiteY0" fmla="*/ 323850 h 323850"/>
                    <a:gd name="connsiteX1" fmla="*/ 4462 w 255287"/>
                    <a:gd name="connsiteY1" fmla="*/ 260350 h 323850"/>
                    <a:gd name="connsiteX2" fmla="*/ 118762 w 255287"/>
                    <a:gd name="connsiteY2" fmla="*/ 0 h 323850"/>
                    <a:gd name="connsiteX0" fmla="*/ 225832 w 225832"/>
                    <a:gd name="connsiteY0" fmla="*/ 323850 h 323850"/>
                    <a:gd name="connsiteX1" fmla="*/ 6757 w 225832"/>
                    <a:gd name="connsiteY1" fmla="*/ 241300 h 323850"/>
                    <a:gd name="connsiteX2" fmla="*/ 89307 w 225832"/>
                    <a:gd name="connsiteY2" fmla="*/ 0 h 32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5832" h="323850">
                      <a:moveTo>
                        <a:pt x="225832" y="323850"/>
                      </a:moveTo>
                      <a:cubicBezTo>
                        <a:pt x="110473" y="313796"/>
                        <a:pt x="29511" y="295275"/>
                        <a:pt x="6757" y="241300"/>
                      </a:cubicBezTo>
                      <a:cubicBezTo>
                        <a:pt x="-15997" y="187325"/>
                        <a:pt x="20515" y="102129"/>
                        <a:pt x="89307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19" name="Freeform 118"/>
                <p:cNvSpPr/>
                <p:nvPr>
                  <p:custDataLst>
                    <p:tags r:id="rId13"/>
                  </p:custDataLst>
                </p:nvPr>
              </p:nvSpPr>
              <p:spPr bwMode="gray">
                <a:xfrm>
                  <a:off x="7587740" y="4184650"/>
                  <a:ext cx="787910" cy="652074"/>
                </a:xfrm>
                <a:custGeom>
                  <a:avLst/>
                  <a:gdLst>
                    <a:gd name="connsiteX0" fmla="*/ 1079916 w 1079916"/>
                    <a:gd name="connsiteY0" fmla="*/ 647700 h 647700"/>
                    <a:gd name="connsiteX1" fmla="*/ 6766 w 1079916"/>
                    <a:gd name="connsiteY1" fmla="*/ 387350 h 647700"/>
                    <a:gd name="connsiteX2" fmla="*/ 705266 w 1079916"/>
                    <a:gd name="connsiteY2" fmla="*/ 0 h 647700"/>
                    <a:gd name="connsiteX0" fmla="*/ 1079916 w 1079916"/>
                    <a:gd name="connsiteY0" fmla="*/ 647700 h 650152"/>
                    <a:gd name="connsiteX1" fmla="*/ 6766 w 1079916"/>
                    <a:gd name="connsiteY1" fmla="*/ 387350 h 650152"/>
                    <a:gd name="connsiteX2" fmla="*/ 705266 w 1079916"/>
                    <a:gd name="connsiteY2" fmla="*/ 0 h 650152"/>
                    <a:gd name="connsiteX0" fmla="*/ 787910 w 787910"/>
                    <a:gd name="connsiteY0" fmla="*/ 647700 h 652074"/>
                    <a:gd name="connsiteX1" fmla="*/ 19560 w 787910"/>
                    <a:gd name="connsiteY1" fmla="*/ 476250 h 652074"/>
                    <a:gd name="connsiteX2" fmla="*/ 413260 w 787910"/>
                    <a:gd name="connsiteY2" fmla="*/ 0 h 652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87910" h="652074">
                      <a:moveTo>
                        <a:pt x="787910" y="647700"/>
                      </a:moveTo>
                      <a:cubicBezTo>
                        <a:pt x="295256" y="673100"/>
                        <a:pt x="82002" y="584200"/>
                        <a:pt x="19560" y="476250"/>
                      </a:cubicBezTo>
                      <a:cubicBezTo>
                        <a:pt x="-42882" y="368300"/>
                        <a:pt x="32789" y="139700"/>
                        <a:pt x="413260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25" name="Freeform 124"/>
                <p:cNvSpPr/>
                <p:nvPr>
                  <p:custDataLst>
                    <p:tags r:id="rId14"/>
                  </p:custDataLst>
                </p:nvPr>
              </p:nvSpPr>
              <p:spPr bwMode="gray">
                <a:xfrm>
                  <a:off x="7868064" y="4561523"/>
                  <a:ext cx="506316" cy="274320"/>
                </a:xfrm>
                <a:custGeom>
                  <a:avLst/>
                  <a:gdLst>
                    <a:gd name="connsiteX0" fmla="*/ 506316 w 506316"/>
                    <a:gd name="connsiteY0" fmla="*/ 274320 h 274320"/>
                    <a:gd name="connsiteX1" fmla="*/ 18636 w 506316"/>
                    <a:gd name="connsiteY1" fmla="*/ 205740 h 274320"/>
                    <a:gd name="connsiteX2" fmla="*/ 148176 w 506316"/>
                    <a:gd name="connsiteY2" fmla="*/ 0 h 274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6316" h="274320">
                      <a:moveTo>
                        <a:pt x="506316" y="274320"/>
                      </a:moveTo>
                      <a:cubicBezTo>
                        <a:pt x="292321" y="262890"/>
                        <a:pt x="78326" y="251460"/>
                        <a:pt x="18636" y="205740"/>
                      </a:cubicBezTo>
                      <a:cubicBezTo>
                        <a:pt x="-41054" y="160020"/>
                        <a:pt x="53561" y="80010"/>
                        <a:pt x="148176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30" name="Freeform 129"/>
                <p:cNvSpPr/>
                <p:nvPr>
                  <p:custDataLst>
                    <p:tags r:id="rId15"/>
                  </p:custDataLst>
                </p:nvPr>
              </p:nvSpPr>
              <p:spPr bwMode="gray">
                <a:xfrm>
                  <a:off x="6770467" y="2636520"/>
                  <a:ext cx="1603912" cy="2243372"/>
                </a:xfrm>
                <a:custGeom>
                  <a:avLst/>
                  <a:gdLst>
                    <a:gd name="connsiteX0" fmla="*/ 1961632 w 1961632"/>
                    <a:gd name="connsiteY0" fmla="*/ 2217420 h 2217420"/>
                    <a:gd name="connsiteX1" fmla="*/ 33772 w 1961632"/>
                    <a:gd name="connsiteY1" fmla="*/ 1234440 h 2217420"/>
                    <a:gd name="connsiteX2" fmla="*/ 917692 w 1961632"/>
                    <a:gd name="connsiteY2" fmla="*/ 0 h 2217420"/>
                    <a:gd name="connsiteX0" fmla="*/ 1961632 w 1961632"/>
                    <a:gd name="connsiteY0" fmla="*/ 2217420 h 2259851"/>
                    <a:gd name="connsiteX1" fmla="*/ 33772 w 1961632"/>
                    <a:gd name="connsiteY1" fmla="*/ 1234440 h 2259851"/>
                    <a:gd name="connsiteX2" fmla="*/ 917692 w 1961632"/>
                    <a:gd name="connsiteY2" fmla="*/ 0 h 2259851"/>
                    <a:gd name="connsiteX0" fmla="*/ 1043940 w 1043940"/>
                    <a:gd name="connsiteY0" fmla="*/ 2217420 h 2217420"/>
                    <a:gd name="connsiteX1" fmla="*/ 0 w 1043940"/>
                    <a:gd name="connsiteY1" fmla="*/ 0 h 2217420"/>
                    <a:gd name="connsiteX0" fmla="*/ 1295331 w 1295331"/>
                    <a:gd name="connsiteY0" fmla="*/ 2217420 h 2242176"/>
                    <a:gd name="connsiteX1" fmla="*/ 251391 w 1295331"/>
                    <a:gd name="connsiteY1" fmla="*/ 0 h 2242176"/>
                    <a:gd name="connsiteX0" fmla="*/ 1603912 w 1603912"/>
                    <a:gd name="connsiteY0" fmla="*/ 2217420 h 2243372"/>
                    <a:gd name="connsiteX1" fmla="*/ 559972 w 1603912"/>
                    <a:gd name="connsiteY1" fmla="*/ 0 h 2243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3912" h="2243372">
                      <a:moveTo>
                        <a:pt x="1603912" y="2217420"/>
                      </a:moveTo>
                      <a:cubicBezTo>
                        <a:pt x="-763368" y="2468880"/>
                        <a:pt x="46892" y="830580"/>
                        <a:pt x="559972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31" name="Freeform 130"/>
                <p:cNvSpPr/>
                <p:nvPr>
                  <p:custDataLst>
                    <p:tags r:id="rId16"/>
                  </p:custDataLst>
                </p:nvPr>
              </p:nvSpPr>
              <p:spPr bwMode="gray">
                <a:xfrm>
                  <a:off x="8391982" y="4849226"/>
                  <a:ext cx="518190" cy="407123"/>
                </a:xfrm>
                <a:custGeom>
                  <a:avLst/>
                  <a:gdLst>
                    <a:gd name="connsiteX0" fmla="*/ 2415540 w 2415540"/>
                    <a:gd name="connsiteY0" fmla="*/ 74963 h 463583"/>
                    <a:gd name="connsiteX1" fmla="*/ 541020 w 2415540"/>
                    <a:gd name="connsiteY1" fmla="*/ 29243 h 463583"/>
                    <a:gd name="connsiteX2" fmla="*/ 0 w 2415540"/>
                    <a:gd name="connsiteY2" fmla="*/ 463583 h 463583"/>
                    <a:gd name="connsiteX0" fmla="*/ 2415540 w 2415540"/>
                    <a:gd name="connsiteY0" fmla="*/ 17246 h 405866"/>
                    <a:gd name="connsiteX1" fmla="*/ 1501140 w 2415540"/>
                    <a:gd name="connsiteY1" fmla="*/ 116306 h 405866"/>
                    <a:gd name="connsiteX2" fmla="*/ 0 w 2415540"/>
                    <a:gd name="connsiteY2" fmla="*/ 405866 h 405866"/>
                    <a:gd name="connsiteX0" fmla="*/ 2415540 w 2415540"/>
                    <a:gd name="connsiteY0" fmla="*/ 0 h 388620"/>
                    <a:gd name="connsiteX1" fmla="*/ 0 w 2415540"/>
                    <a:gd name="connsiteY1" fmla="*/ 388620 h 388620"/>
                    <a:gd name="connsiteX0" fmla="*/ 2415540 w 2415540"/>
                    <a:gd name="connsiteY0" fmla="*/ 0 h 388620"/>
                    <a:gd name="connsiteX1" fmla="*/ 0 w 2415540"/>
                    <a:gd name="connsiteY1" fmla="*/ 388620 h 388620"/>
                    <a:gd name="connsiteX0" fmla="*/ 2415540 w 2415540"/>
                    <a:gd name="connsiteY0" fmla="*/ 0 h 388620"/>
                    <a:gd name="connsiteX1" fmla="*/ 0 w 2415540"/>
                    <a:gd name="connsiteY1" fmla="*/ 388620 h 388620"/>
                    <a:gd name="connsiteX0" fmla="*/ 172822 w 918624"/>
                    <a:gd name="connsiteY0" fmla="*/ 0 h 394788"/>
                    <a:gd name="connsiteX1" fmla="*/ 742739 w 918624"/>
                    <a:gd name="connsiteY1" fmla="*/ 394788 h 394788"/>
                    <a:gd name="connsiteX0" fmla="*/ 0 w 863901"/>
                    <a:gd name="connsiteY0" fmla="*/ 0 h 394788"/>
                    <a:gd name="connsiteX1" fmla="*/ 569917 w 863901"/>
                    <a:gd name="connsiteY1" fmla="*/ 394788 h 394788"/>
                    <a:gd name="connsiteX0" fmla="*/ 0 w 574609"/>
                    <a:gd name="connsiteY0" fmla="*/ 0 h 394788"/>
                    <a:gd name="connsiteX1" fmla="*/ 569917 w 574609"/>
                    <a:gd name="connsiteY1" fmla="*/ 394788 h 394788"/>
                    <a:gd name="connsiteX0" fmla="*/ 0 w 537364"/>
                    <a:gd name="connsiteY0" fmla="*/ 0 h 394788"/>
                    <a:gd name="connsiteX1" fmla="*/ 531980 w 537364"/>
                    <a:gd name="connsiteY1" fmla="*/ 394788 h 394788"/>
                    <a:gd name="connsiteX0" fmla="*/ 0 w 524992"/>
                    <a:gd name="connsiteY0" fmla="*/ 0 h 413292"/>
                    <a:gd name="connsiteX1" fmla="*/ 519334 w 524992"/>
                    <a:gd name="connsiteY1" fmla="*/ 413292 h 413292"/>
                    <a:gd name="connsiteX0" fmla="*/ 0 w 531173"/>
                    <a:gd name="connsiteY0" fmla="*/ 0 h 407123"/>
                    <a:gd name="connsiteX1" fmla="*/ 525656 w 531173"/>
                    <a:gd name="connsiteY1" fmla="*/ 407123 h 407123"/>
                    <a:gd name="connsiteX0" fmla="*/ 0 w 531173"/>
                    <a:gd name="connsiteY0" fmla="*/ 0 h 407123"/>
                    <a:gd name="connsiteX1" fmla="*/ 525656 w 531173"/>
                    <a:gd name="connsiteY1" fmla="*/ 407123 h 407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1173" h="407123">
                      <a:moveTo>
                        <a:pt x="0" y="0"/>
                      </a:moveTo>
                      <a:cubicBezTo>
                        <a:pt x="366437" y="71127"/>
                        <a:pt x="567780" y="175991"/>
                        <a:pt x="525656" y="407123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  <p:sp>
              <p:nvSpPr>
                <p:cNvPr id="132" name="Freeform 131"/>
                <p:cNvSpPr/>
                <p:nvPr>
                  <p:custDataLst>
                    <p:tags r:id="rId17"/>
                  </p:custDataLst>
                </p:nvPr>
              </p:nvSpPr>
              <p:spPr bwMode="gray">
                <a:xfrm>
                  <a:off x="5372100" y="4033839"/>
                  <a:ext cx="2994660" cy="906960"/>
                </a:xfrm>
                <a:custGeom>
                  <a:avLst/>
                  <a:gdLst>
                    <a:gd name="connsiteX0" fmla="*/ 3017520 w 3017520"/>
                    <a:gd name="connsiteY0" fmla="*/ 853440 h 853440"/>
                    <a:gd name="connsiteX1" fmla="*/ 0 w 3017520"/>
                    <a:gd name="connsiteY1" fmla="*/ 0 h 853440"/>
                    <a:gd name="connsiteX0" fmla="*/ 3017520 w 3017520"/>
                    <a:gd name="connsiteY0" fmla="*/ 853440 h 928620"/>
                    <a:gd name="connsiteX1" fmla="*/ 0 w 3017520"/>
                    <a:gd name="connsiteY1" fmla="*/ 0 h 928620"/>
                    <a:gd name="connsiteX0" fmla="*/ 3017520 w 3017520"/>
                    <a:gd name="connsiteY0" fmla="*/ 853440 h 936112"/>
                    <a:gd name="connsiteX1" fmla="*/ 0 w 3017520"/>
                    <a:gd name="connsiteY1" fmla="*/ 0 h 936112"/>
                    <a:gd name="connsiteX0" fmla="*/ 2974658 w 2974658"/>
                    <a:gd name="connsiteY0" fmla="*/ 801053 h 887911"/>
                    <a:gd name="connsiteX1" fmla="*/ 0 w 2974658"/>
                    <a:gd name="connsiteY1" fmla="*/ 0 h 887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4658" h="887911">
                      <a:moveTo>
                        <a:pt x="2974658" y="801053"/>
                      </a:moveTo>
                      <a:cubicBezTo>
                        <a:pt x="1275398" y="1141413"/>
                        <a:pt x="396240" y="398780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rgbClr val="00B050"/>
                  </a:solidFill>
                  <a:tailEnd type="triangle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hy-AM">
                    <a:latin typeface="Arial"/>
                  </a:endParaRPr>
                </a:p>
              </p:txBody>
            </p:sp>
          </p:grpSp>
          <p:sp>
            <p:nvSpPr>
              <p:cNvPr id="69" name="Freeform 68"/>
              <p:cNvSpPr/>
              <p:nvPr>
                <p:custDataLst>
                  <p:tags r:id="rId8"/>
                </p:custDataLst>
              </p:nvPr>
            </p:nvSpPr>
            <p:spPr bwMode="gray">
              <a:xfrm>
                <a:off x="7223254" y="2226166"/>
                <a:ext cx="775461" cy="1272587"/>
              </a:xfrm>
              <a:custGeom>
                <a:avLst/>
                <a:gdLst>
                  <a:gd name="connsiteX0" fmla="*/ 548640 w 548640"/>
                  <a:gd name="connsiteY0" fmla="*/ 1661160 h 1661160"/>
                  <a:gd name="connsiteX1" fmla="*/ 0 w 548640"/>
                  <a:gd name="connsiteY1" fmla="*/ 0 h 1661160"/>
                  <a:gd name="connsiteX0" fmla="*/ 884409 w 884409"/>
                  <a:gd name="connsiteY0" fmla="*/ 1661160 h 1662625"/>
                  <a:gd name="connsiteX1" fmla="*/ 335769 w 884409"/>
                  <a:gd name="connsiteY1" fmla="*/ 0 h 1662625"/>
                  <a:gd name="connsiteX0" fmla="*/ 924003 w 924003"/>
                  <a:gd name="connsiteY0" fmla="*/ 1661160 h 1666370"/>
                  <a:gd name="connsiteX1" fmla="*/ 375363 w 924003"/>
                  <a:gd name="connsiteY1" fmla="*/ 0 h 1666370"/>
                  <a:gd name="connsiteX0" fmla="*/ 1045352 w 1045352"/>
                  <a:gd name="connsiteY0" fmla="*/ 1661160 h 1665219"/>
                  <a:gd name="connsiteX1" fmla="*/ 496712 w 1045352"/>
                  <a:gd name="connsiteY1" fmla="*/ 0 h 1665219"/>
                  <a:gd name="connsiteX0" fmla="*/ 1035922 w 1035922"/>
                  <a:gd name="connsiteY0" fmla="*/ 1638300 h 1642416"/>
                  <a:gd name="connsiteX1" fmla="*/ 510142 w 1035922"/>
                  <a:gd name="connsiteY1" fmla="*/ 0 h 1642416"/>
                  <a:gd name="connsiteX0" fmla="*/ 1028532 w 1028532"/>
                  <a:gd name="connsiteY0" fmla="*/ 1638300 h 1642515"/>
                  <a:gd name="connsiteX1" fmla="*/ 502752 w 1028532"/>
                  <a:gd name="connsiteY1" fmla="*/ 0 h 1642515"/>
                  <a:gd name="connsiteX0" fmla="*/ 1013925 w 1013925"/>
                  <a:gd name="connsiteY0" fmla="*/ 1638300 h 1642577"/>
                  <a:gd name="connsiteX1" fmla="*/ 488145 w 1013925"/>
                  <a:gd name="connsiteY1" fmla="*/ 0 h 1642577"/>
                  <a:gd name="connsiteX0" fmla="*/ 1004362 w 1004362"/>
                  <a:gd name="connsiteY0" fmla="*/ 1638300 h 1648230"/>
                  <a:gd name="connsiteX1" fmla="*/ 478582 w 1004362"/>
                  <a:gd name="connsiteY1" fmla="*/ 0 h 164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4362" h="1648230">
                    <a:moveTo>
                      <a:pt x="1004362" y="1638300"/>
                    </a:moveTo>
                    <a:cubicBezTo>
                      <a:pt x="-786338" y="1785620"/>
                      <a:pt x="333802" y="248920"/>
                      <a:pt x="478582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  <a:tailEnd type="triangle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hy-AM">
                  <a:latin typeface="Arial"/>
                </a:endParaRPr>
              </a:p>
            </p:txBody>
          </p:sp>
          <p:sp>
            <p:nvSpPr>
              <p:cNvPr id="70" name="Freeform 69"/>
              <p:cNvSpPr/>
              <p:nvPr>
                <p:custDataLst>
                  <p:tags r:id="rId9"/>
                </p:custDataLst>
              </p:nvPr>
            </p:nvSpPr>
            <p:spPr bwMode="gray">
              <a:xfrm rot="21010842">
                <a:off x="8001658" y="3393273"/>
                <a:ext cx="103641" cy="102693"/>
              </a:xfrm>
              <a:custGeom>
                <a:avLst/>
                <a:gdLst>
                  <a:gd name="connsiteX0" fmla="*/ 0 w 134234"/>
                  <a:gd name="connsiteY0" fmla="*/ 114300 h 133006"/>
                  <a:gd name="connsiteX1" fmla="*/ 133350 w 134234"/>
                  <a:gd name="connsiteY1" fmla="*/ 123825 h 133006"/>
                  <a:gd name="connsiteX2" fmla="*/ 47625 w 134234"/>
                  <a:gd name="connsiteY2" fmla="*/ 0 h 133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234" h="133006">
                    <a:moveTo>
                      <a:pt x="0" y="114300"/>
                    </a:moveTo>
                    <a:cubicBezTo>
                      <a:pt x="62706" y="128587"/>
                      <a:pt x="125413" y="142875"/>
                      <a:pt x="133350" y="123825"/>
                    </a:cubicBezTo>
                    <a:cubicBezTo>
                      <a:pt x="141287" y="104775"/>
                      <a:pt x="94456" y="52387"/>
                      <a:pt x="47625" y="0"/>
                    </a:cubicBezTo>
                  </a:path>
                </a:pathLst>
              </a:custGeom>
              <a:noFill/>
              <a:ln w="12700">
                <a:solidFill>
                  <a:schemeClr val="accent3"/>
                </a:solidFill>
                <a:tailEnd type="triangle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hy-AM">
                  <a:latin typeface="Arial"/>
                </a:endParaRPr>
              </a:p>
            </p:txBody>
          </p:sp>
          <p:grpSp>
            <p:nvGrpSpPr>
              <p:cNvPr id="71" name="Group 70"/>
              <p:cNvGrpSpPr/>
              <p:nvPr>
                <p:custDataLst>
                  <p:tags r:id="rId10"/>
                </p:custDataLst>
              </p:nvPr>
            </p:nvGrpSpPr>
            <p:grpSpPr bwMode="gray">
              <a:xfrm>
                <a:off x="5615223" y="1734905"/>
                <a:ext cx="2802713" cy="2130755"/>
                <a:chOff x="5310187" y="2571750"/>
                <a:chExt cx="3630021" cy="2759714"/>
              </a:xfrm>
            </p:grpSpPr>
            <p:sp>
              <p:nvSpPr>
                <p:cNvPr id="72" name="Oval 7"/>
                <p:cNvSpPr>
                  <a:spLocks noChangeArrowheads="1"/>
                </p:cNvSpPr>
                <p:nvPr/>
              </p:nvSpPr>
              <p:spPr bwMode="gray">
                <a:xfrm>
                  <a:off x="7329488" y="3771900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73" name="Oval 8"/>
                <p:cNvSpPr>
                  <a:spLocks noChangeArrowheads="1"/>
                </p:cNvSpPr>
                <p:nvPr/>
              </p:nvSpPr>
              <p:spPr bwMode="gray">
                <a:xfrm>
                  <a:off x="8234363" y="4429125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74" name="Oval 9"/>
                <p:cNvSpPr>
                  <a:spLocks noChangeArrowheads="1"/>
                </p:cNvSpPr>
                <p:nvPr/>
              </p:nvSpPr>
              <p:spPr bwMode="gray">
                <a:xfrm>
                  <a:off x="7843838" y="3133725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76" name="Oval 10"/>
                <p:cNvSpPr>
                  <a:spLocks noChangeArrowheads="1"/>
                </p:cNvSpPr>
                <p:nvPr/>
              </p:nvSpPr>
              <p:spPr bwMode="gray">
                <a:xfrm>
                  <a:off x="7986713" y="4124325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77" name="Oval 11"/>
                <p:cNvSpPr>
                  <a:spLocks noChangeArrowheads="1"/>
                </p:cNvSpPr>
                <p:nvPr/>
              </p:nvSpPr>
              <p:spPr bwMode="gray">
                <a:xfrm>
                  <a:off x="7996238" y="4495800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79" name="Oval 12"/>
                <p:cNvSpPr>
                  <a:spLocks noChangeArrowheads="1"/>
                </p:cNvSpPr>
                <p:nvPr/>
              </p:nvSpPr>
              <p:spPr bwMode="gray">
                <a:xfrm>
                  <a:off x="7319963" y="2571750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80" name="Oval 13"/>
                <p:cNvSpPr>
                  <a:spLocks noChangeArrowheads="1"/>
                </p:cNvSpPr>
                <p:nvPr/>
              </p:nvSpPr>
              <p:spPr bwMode="gray">
                <a:xfrm>
                  <a:off x="8864009" y="5255265"/>
                  <a:ext cx="76199" cy="76199"/>
                </a:xfrm>
                <a:prstGeom prst="ellipse">
                  <a:avLst/>
                </a:prstGeom>
                <a:solidFill>
                  <a:srgbClr val="FB0F0C"/>
                </a:solidFill>
                <a:ln w="0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81" name="Oval 14"/>
                <p:cNvSpPr>
                  <a:spLocks noChangeArrowheads="1"/>
                </p:cNvSpPr>
                <p:nvPr/>
              </p:nvSpPr>
              <p:spPr bwMode="gray">
                <a:xfrm>
                  <a:off x="5310187" y="3943350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0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83" name="Oval 15"/>
                <p:cNvSpPr>
                  <a:spLocks noChangeArrowheads="1"/>
                </p:cNvSpPr>
                <p:nvPr/>
              </p:nvSpPr>
              <p:spPr bwMode="gray">
                <a:xfrm>
                  <a:off x="8358188" y="4676775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  <p:sp>
              <p:nvSpPr>
                <p:cNvPr id="105" name="Oval 15"/>
                <p:cNvSpPr>
                  <a:spLocks noChangeArrowheads="1"/>
                </p:cNvSpPr>
                <p:nvPr/>
              </p:nvSpPr>
              <p:spPr bwMode="gray">
                <a:xfrm>
                  <a:off x="8343900" y="4795837"/>
                  <a:ext cx="76200" cy="76200"/>
                </a:xfrm>
                <a:prstGeom prst="ellipse">
                  <a:avLst/>
                </a:prstGeom>
                <a:solidFill>
                  <a:srgbClr val="FB0F0C"/>
                </a:solidFill>
                <a:ln w="1" cap="flat">
                  <a:solidFill>
                    <a:schemeClr val="bg1">
                      <a:lumMod val="9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y-AM" sz="80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00108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4177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80" name="Rectangle 79"/>
          <p:cNvSpPr>
            <a:spLocks/>
          </p:cNvSpPr>
          <p:nvPr/>
        </p:nvSpPr>
        <p:spPr bwMode="gray">
          <a:xfrm>
            <a:off x="939490" y="1012279"/>
            <a:ext cx="7156760" cy="55104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endParaRPr lang="hy-AM" sz="1000">
              <a:solidFill>
                <a:schemeClr val="tx1"/>
              </a:solidFill>
              <a:latin typeface="Times New Roman" pitchFamily="18" charset="0"/>
              <a:ea typeface="Arial Unicode MS" pitchFamily="34" charset="-128"/>
              <a:cs typeface="Times New Roman" pitchFamily="18" charset="0"/>
            </a:endParaRPr>
          </a:p>
        </p:txBody>
      </p:sp>
      <p:sp>
        <p:nvSpPr>
          <p:cNvPr id="22" name="Rectangle 9"/>
          <p:cNvSpPr txBox="1">
            <a:spLocks/>
          </p:cNvSpPr>
          <p:nvPr/>
        </p:nvSpPr>
        <p:spPr bwMode="gray">
          <a:xfrm>
            <a:off x="3893969" y="2025836"/>
            <a:ext cx="1247732" cy="474518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b="1" dirty="0" smtClean="0">
                <a:solidFill>
                  <a:schemeClr val="accent3"/>
                </a:solidFill>
                <a:latin typeface="Times New Roman" pitchFamily="18" charset="0"/>
                <a:cs typeface="Times New Roman" pitchFamily="18" charset="0"/>
              </a:rPr>
              <a:t>Գլխավոր տնօրեն</a:t>
            </a:r>
            <a:endParaRPr lang="hy-AM" sz="1000" b="1" dirty="0">
              <a:solidFill>
                <a:schemeClr val="accent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Rectangle 9"/>
          <p:cNvSpPr txBox="1"/>
          <p:nvPr/>
        </p:nvSpPr>
        <p:spPr bwMode="gray">
          <a:xfrm>
            <a:off x="5217908" y="2591490"/>
            <a:ext cx="1210240" cy="33328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Որակ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Rectangle 9"/>
          <p:cNvSpPr txBox="1"/>
          <p:nvPr/>
        </p:nvSpPr>
        <p:spPr bwMode="gray">
          <a:xfrm>
            <a:off x="2607523" y="2591490"/>
            <a:ext cx="1210240" cy="33328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Ներկայացուցիչ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9"/>
          <p:cNvSpPr txBox="1"/>
          <p:nvPr/>
        </p:nvSpPr>
        <p:spPr bwMode="gray">
          <a:xfrm>
            <a:off x="5217908" y="3009556"/>
            <a:ext cx="1210240" cy="33328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Ապահովություն և անվտանգություն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9"/>
          <p:cNvSpPr txBox="1"/>
          <p:nvPr/>
        </p:nvSpPr>
        <p:spPr bwMode="gray">
          <a:xfrm>
            <a:off x="2607523" y="3009556"/>
            <a:ext cx="1210240" cy="33328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Ներքին աուդիտ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Rectangle 9"/>
          <p:cNvSpPr txBox="1">
            <a:spLocks/>
          </p:cNvSpPr>
          <p:nvPr/>
        </p:nvSpPr>
        <p:spPr bwMode="gray">
          <a:xfrm>
            <a:off x="6719345" y="3567983"/>
            <a:ext cx="1299452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Մարդկային ռեսուրսների գծով տնօրեն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Elbow Connector 42"/>
          <p:cNvCxnSpPr>
            <a:stCxn id="22" idx="2"/>
            <a:endCxn id="24" idx="3"/>
          </p:cNvCxnSpPr>
          <p:nvPr/>
        </p:nvCxnSpPr>
        <p:spPr bwMode="gray">
          <a:xfrm rot="5400000">
            <a:off x="4038910" y="2279207"/>
            <a:ext cx="257780" cy="70007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22" idx="2"/>
            <a:endCxn id="23" idx="1"/>
          </p:cNvCxnSpPr>
          <p:nvPr/>
        </p:nvCxnSpPr>
        <p:spPr bwMode="gray">
          <a:xfrm rot="16200000" flipH="1">
            <a:off x="4738980" y="2279207"/>
            <a:ext cx="257780" cy="7000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 bwMode="gray">
          <a:xfrm flipV="1">
            <a:off x="4517836" y="3329887"/>
            <a:ext cx="0" cy="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y-AM" sz="10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6" name="Elbow Connector 45"/>
          <p:cNvCxnSpPr>
            <a:stCxn id="45" idx="0"/>
            <a:endCxn id="78" idx="0"/>
          </p:cNvCxnSpPr>
          <p:nvPr/>
        </p:nvCxnSpPr>
        <p:spPr bwMode="gray">
          <a:xfrm rot="5400000">
            <a:off x="2973172" y="2023318"/>
            <a:ext cx="238096" cy="2851234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45" idx="0"/>
            <a:endCxn id="76" idx="0"/>
          </p:cNvCxnSpPr>
          <p:nvPr/>
        </p:nvCxnSpPr>
        <p:spPr bwMode="gray">
          <a:xfrm rot="5400000">
            <a:off x="3685980" y="2736126"/>
            <a:ext cx="238096" cy="1425619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45" idx="0"/>
            <a:endCxn id="74" idx="0"/>
          </p:cNvCxnSpPr>
          <p:nvPr/>
        </p:nvCxnSpPr>
        <p:spPr bwMode="gray">
          <a:xfrm flipH="1">
            <a:off x="4517836" y="3329887"/>
            <a:ext cx="1" cy="238096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45" idx="0"/>
            <a:endCxn id="72" idx="0"/>
          </p:cNvCxnSpPr>
          <p:nvPr/>
        </p:nvCxnSpPr>
        <p:spPr bwMode="gray">
          <a:xfrm rot="16200000" flipH="1">
            <a:off x="5111596" y="2736127"/>
            <a:ext cx="238096" cy="1425615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45" idx="0"/>
            <a:endCxn id="27" idx="0"/>
          </p:cNvCxnSpPr>
          <p:nvPr/>
        </p:nvCxnSpPr>
        <p:spPr bwMode="gray">
          <a:xfrm rot="16200000" flipH="1">
            <a:off x="5824406" y="2023318"/>
            <a:ext cx="238096" cy="2851234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9"/>
          <p:cNvSpPr txBox="1"/>
          <p:nvPr/>
        </p:nvSpPr>
        <p:spPr bwMode="gray">
          <a:xfrm>
            <a:off x="1016877" y="3567983"/>
            <a:ext cx="1299451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Գործառնական տնօրեն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9" name="Rectangle 78"/>
          <p:cNvSpPr/>
          <p:nvPr/>
        </p:nvSpPr>
        <p:spPr bwMode="gray">
          <a:xfrm flipV="1">
            <a:off x="1016877" y="3826278"/>
            <a:ext cx="200822" cy="1377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0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2" name="Elbow Connector 51"/>
          <p:cNvCxnSpPr>
            <a:stCxn id="79" idx="0"/>
            <a:endCxn id="28" idx="1"/>
          </p:cNvCxnSpPr>
          <p:nvPr/>
        </p:nvCxnSpPr>
        <p:spPr bwMode="gray">
          <a:xfrm rot="16200000" flipH="1">
            <a:off x="1011606" y="4069665"/>
            <a:ext cx="285990" cy="7462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79" idx="0"/>
            <a:endCxn id="29" idx="1"/>
          </p:cNvCxnSpPr>
          <p:nvPr/>
        </p:nvCxnSpPr>
        <p:spPr bwMode="gray">
          <a:xfrm rot="16200000" flipH="1">
            <a:off x="764213" y="4317058"/>
            <a:ext cx="780776" cy="7462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79" idx="0"/>
            <a:endCxn id="30" idx="1"/>
          </p:cNvCxnSpPr>
          <p:nvPr/>
        </p:nvCxnSpPr>
        <p:spPr bwMode="gray">
          <a:xfrm rot="16200000" flipH="1">
            <a:off x="515251" y="4566020"/>
            <a:ext cx="1278700" cy="7462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79" idx="0"/>
            <a:endCxn id="31" idx="1"/>
          </p:cNvCxnSpPr>
          <p:nvPr/>
        </p:nvCxnSpPr>
        <p:spPr bwMode="gray">
          <a:xfrm rot="16200000" flipH="1">
            <a:off x="266289" y="4814982"/>
            <a:ext cx="1776625" cy="7462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9"/>
          <p:cNvSpPr txBox="1"/>
          <p:nvPr/>
        </p:nvSpPr>
        <p:spPr bwMode="gray">
          <a:xfrm>
            <a:off x="2442492" y="3567983"/>
            <a:ext cx="1299451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Կոմերցիոն</a:t>
            </a:r>
            <a:r>
              <a:rPr lang="hy-AM" sz="100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տնօրեն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7" name="Rectangle 76"/>
          <p:cNvSpPr/>
          <p:nvPr/>
        </p:nvSpPr>
        <p:spPr bwMode="gray">
          <a:xfrm flipV="1">
            <a:off x="2447862" y="3826278"/>
            <a:ext cx="200822" cy="1377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0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7" name="Elbow Connector 56"/>
          <p:cNvCxnSpPr>
            <a:stCxn id="77" idx="0"/>
            <a:endCxn id="32" idx="1"/>
          </p:cNvCxnSpPr>
          <p:nvPr/>
        </p:nvCxnSpPr>
        <p:spPr bwMode="gray">
          <a:xfrm rot="16200000" flipH="1">
            <a:off x="2441476" y="4070780"/>
            <a:ext cx="282851" cy="692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77" idx="0"/>
            <a:endCxn id="33" idx="1"/>
          </p:cNvCxnSpPr>
          <p:nvPr/>
        </p:nvCxnSpPr>
        <p:spPr bwMode="gray">
          <a:xfrm rot="16200000" flipH="1">
            <a:off x="2192513" y="4319743"/>
            <a:ext cx="780776" cy="692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77" idx="0"/>
            <a:endCxn id="34" idx="1"/>
          </p:cNvCxnSpPr>
          <p:nvPr/>
        </p:nvCxnSpPr>
        <p:spPr bwMode="gray">
          <a:xfrm rot="16200000" flipH="1">
            <a:off x="1943551" y="4568705"/>
            <a:ext cx="1278700" cy="692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9"/>
          <p:cNvSpPr txBox="1">
            <a:spLocks/>
          </p:cNvSpPr>
          <p:nvPr/>
        </p:nvSpPr>
        <p:spPr bwMode="gray">
          <a:xfrm>
            <a:off x="3868110" y="3567983"/>
            <a:ext cx="1299452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Ռազմավարության և պլանավորման գծով տնօրեն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5" name="Rectangle 74"/>
          <p:cNvSpPr/>
          <p:nvPr/>
        </p:nvSpPr>
        <p:spPr bwMode="gray">
          <a:xfrm flipV="1">
            <a:off x="3865979" y="3826278"/>
            <a:ext cx="200822" cy="1377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0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1" name="Elbow Connector 60"/>
          <p:cNvCxnSpPr>
            <a:stCxn id="75" idx="0"/>
            <a:endCxn id="35" idx="1"/>
          </p:cNvCxnSpPr>
          <p:nvPr/>
        </p:nvCxnSpPr>
        <p:spPr bwMode="gray">
          <a:xfrm rot="16200000" flipH="1">
            <a:off x="3863343" y="4067030"/>
            <a:ext cx="282851" cy="767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75" idx="0"/>
            <a:endCxn id="36" idx="1"/>
          </p:cNvCxnSpPr>
          <p:nvPr/>
        </p:nvCxnSpPr>
        <p:spPr bwMode="gray">
          <a:xfrm rot="16200000" flipH="1">
            <a:off x="3614380" y="4315993"/>
            <a:ext cx="780776" cy="767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stCxn id="75" idx="0"/>
            <a:endCxn id="37" idx="1"/>
          </p:cNvCxnSpPr>
          <p:nvPr/>
        </p:nvCxnSpPr>
        <p:spPr bwMode="gray">
          <a:xfrm rot="16200000" flipH="1">
            <a:off x="3365418" y="4564955"/>
            <a:ext cx="1278700" cy="7675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9"/>
          <p:cNvSpPr txBox="1">
            <a:spLocks/>
          </p:cNvSpPr>
          <p:nvPr/>
        </p:nvSpPr>
        <p:spPr bwMode="gray">
          <a:xfrm>
            <a:off x="5293726" y="3567983"/>
            <a:ext cx="1299452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Ֆինանսական տնօրեն 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3" name="Rectangle 72"/>
          <p:cNvSpPr/>
          <p:nvPr/>
        </p:nvSpPr>
        <p:spPr bwMode="gray">
          <a:xfrm flipV="1">
            <a:off x="5293727" y="3798975"/>
            <a:ext cx="200822" cy="1650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0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5" name="Elbow Connector 64"/>
          <p:cNvCxnSpPr>
            <a:stCxn id="73" idx="0"/>
            <a:endCxn id="38" idx="1"/>
          </p:cNvCxnSpPr>
          <p:nvPr/>
        </p:nvCxnSpPr>
        <p:spPr bwMode="gray">
          <a:xfrm rot="16200000" flipH="1">
            <a:off x="5290025" y="4068096"/>
            <a:ext cx="282851" cy="7462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73" idx="0"/>
            <a:endCxn id="39" idx="1"/>
          </p:cNvCxnSpPr>
          <p:nvPr/>
        </p:nvCxnSpPr>
        <p:spPr bwMode="gray">
          <a:xfrm rot="16200000" flipH="1">
            <a:off x="5041062" y="4317059"/>
            <a:ext cx="780776" cy="7462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73" idx="0"/>
            <a:endCxn id="40" idx="1"/>
          </p:cNvCxnSpPr>
          <p:nvPr/>
        </p:nvCxnSpPr>
        <p:spPr bwMode="gray">
          <a:xfrm rot="16200000" flipH="1">
            <a:off x="4792100" y="4566021"/>
            <a:ext cx="1278700" cy="7462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67"/>
          <p:cNvCxnSpPr>
            <a:stCxn id="73" idx="0"/>
            <a:endCxn id="41" idx="1"/>
          </p:cNvCxnSpPr>
          <p:nvPr/>
        </p:nvCxnSpPr>
        <p:spPr bwMode="gray">
          <a:xfrm rot="16200000" flipH="1">
            <a:off x="4543138" y="4814983"/>
            <a:ext cx="1776625" cy="7462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104"/>
          <p:cNvCxnSpPr>
            <a:stCxn id="45" idx="2"/>
            <a:endCxn id="22" idx="2"/>
          </p:cNvCxnSpPr>
          <p:nvPr/>
        </p:nvCxnSpPr>
        <p:spPr bwMode="gray">
          <a:xfrm flipV="1">
            <a:off x="4517836" y="2500354"/>
            <a:ext cx="0" cy="829532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22" idx="2"/>
            <a:endCxn id="26" idx="3"/>
          </p:cNvCxnSpPr>
          <p:nvPr/>
        </p:nvCxnSpPr>
        <p:spPr bwMode="gray">
          <a:xfrm rot="5400000">
            <a:off x="3829878" y="2488241"/>
            <a:ext cx="675846" cy="700076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stCxn id="22" idx="2"/>
            <a:endCxn id="25" idx="1"/>
          </p:cNvCxnSpPr>
          <p:nvPr/>
        </p:nvCxnSpPr>
        <p:spPr bwMode="gray">
          <a:xfrm rot="16200000" flipH="1">
            <a:off x="4529949" y="2488241"/>
            <a:ext cx="675846" cy="7000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/>
          <p:nvPr/>
        </p:nvCxnSpPr>
        <p:spPr bwMode="gray">
          <a:xfrm rot="16200000" flipH="1">
            <a:off x="2182495" y="5253396"/>
            <a:ext cx="848027" cy="113130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9"/>
          <p:cNvSpPr txBox="1">
            <a:spLocks/>
          </p:cNvSpPr>
          <p:nvPr/>
        </p:nvSpPr>
        <p:spPr bwMode="gray">
          <a:xfrm>
            <a:off x="1191914" y="3991555"/>
            <a:ext cx="1161672" cy="51683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dirty="0" smtClean="0">
                <a:latin typeface="Times New Roman" pitchFamily="18" charset="0"/>
                <a:cs typeface="Times New Roman" pitchFamily="18" charset="0"/>
              </a:rPr>
              <a:t>Չվերթների իրականացում/անվտանգություն</a:t>
            </a:r>
            <a:endParaRPr lang="hy-AM" sz="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Rectangle 9"/>
          <p:cNvSpPr txBox="1">
            <a:spLocks/>
          </p:cNvSpPr>
          <p:nvPr/>
        </p:nvSpPr>
        <p:spPr bwMode="gray">
          <a:xfrm>
            <a:off x="1191914" y="4546759"/>
            <a:ext cx="1169623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dirty="0" smtClean="0">
                <a:latin typeface="Times New Roman" pitchFamily="18" charset="0"/>
                <a:cs typeface="Times New Roman" pitchFamily="18" charset="0"/>
              </a:rPr>
              <a:t>Տեխնի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կ</a:t>
            </a:r>
            <a:r>
              <a:rPr lang="hy-AM" sz="900" dirty="0" smtClean="0">
                <a:latin typeface="Times New Roman" pitchFamily="18" charset="0"/>
                <a:cs typeface="Times New Roman" pitchFamily="18" charset="0"/>
              </a:rPr>
              <a:t>ական սպասարկում/պահպանում </a:t>
            </a:r>
            <a:endParaRPr lang="hy-AM" sz="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9"/>
          <p:cNvSpPr txBox="1">
            <a:spLocks/>
          </p:cNvSpPr>
          <p:nvPr/>
        </p:nvSpPr>
        <p:spPr bwMode="gray">
          <a:xfrm>
            <a:off x="1191914" y="5044683"/>
            <a:ext cx="1193477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Գործառնությունների հսկողություն 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Rectangle 9"/>
          <p:cNvSpPr txBox="1">
            <a:spLocks/>
          </p:cNvSpPr>
          <p:nvPr/>
        </p:nvSpPr>
        <p:spPr bwMode="gray">
          <a:xfrm>
            <a:off x="1191914" y="5542608"/>
            <a:ext cx="1185526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Օդանավակայանի գործառնություններ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Rectangle 9"/>
          <p:cNvSpPr txBox="1">
            <a:spLocks/>
          </p:cNvSpPr>
          <p:nvPr/>
        </p:nvSpPr>
        <p:spPr bwMode="gray">
          <a:xfrm>
            <a:off x="2617529" y="4048834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Մարքեթինգ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Rectangle 9"/>
          <p:cNvSpPr txBox="1">
            <a:spLocks/>
          </p:cNvSpPr>
          <p:nvPr/>
        </p:nvSpPr>
        <p:spPr bwMode="gray">
          <a:xfrm>
            <a:off x="2617529" y="4546759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Վաճառք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Rectangle 9"/>
          <p:cNvSpPr txBox="1">
            <a:spLocks/>
          </p:cNvSpPr>
          <p:nvPr/>
        </p:nvSpPr>
        <p:spPr bwMode="gray">
          <a:xfrm>
            <a:off x="2617529" y="5044683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Տեղաբաշխում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Rectangle 9"/>
          <p:cNvSpPr txBox="1">
            <a:spLocks/>
          </p:cNvSpPr>
          <p:nvPr/>
        </p:nvSpPr>
        <p:spPr bwMode="gray">
          <a:xfrm>
            <a:off x="4043146" y="4048834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Ցանցի կառավարում/պլանավորում 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Rectangle 9"/>
          <p:cNvSpPr txBox="1">
            <a:spLocks/>
          </p:cNvSpPr>
          <p:nvPr/>
        </p:nvSpPr>
        <p:spPr bwMode="gray">
          <a:xfrm>
            <a:off x="4043146" y="4546759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Եկամտի/շահույթի կառավարում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Rectangle 9"/>
          <p:cNvSpPr txBox="1">
            <a:spLocks/>
          </p:cNvSpPr>
          <p:nvPr/>
        </p:nvSpPr>
        <p:spPr bwMode="gray">
          <a:xfrm>
            <a:off x="4043146" y="5044683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Բիզնեսի զարգացում 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Rectangle 9"/>
          <p:cNvSpPr txBox="1">
            <a:spLocks/>
          </p:cNvSpPr>
          <p:nvPr/>
        </p:nvSpPr>
        <p:spPr bwMode="gray">
          <a:xfrm>
            <a:off x="5468762" y="4048834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dirty="0" smtClean="0">
                <a:latin typeface="Times New Roman" pitchFamily="18" charset="0"/>
                <a:cs typeface="Times New Roman" pitchFamily="18" charset="0"/>
              </a:rPr>
              <a:t>Ֆինանսական հաշվառում</a:t>
            </a:r>
            <a:endParaRPr lang="hy-AM" sz="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Rectangle 9"/>
          <p:cNvSpPr txBox="1">
            <a:spLocks/>
          </p:cNvSpPr>
          <p:nvPr/>
        </p:nvSpPr>
        <p:spPr bwMode="gray">
          <a:xfrm>
            <a:off x="5468762" y="4546759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Ֆինանսական հսկողություն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Rectangle 9"/>
          <p:cNvSpPr txBox="1">
            <a:spLocks/>
          </p:cNvSpPr>
          <p:nvPr/>
        </p:nvSpPr>
        <p:spPr bwMode="gray">
          <a:xfrm>
            <a:off x="5468762" y="5044683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dirty="0" smtClean="0">
                <a:latin typeface="Times New Roman" pitchFamily="18" charset="0"/>
                <a:cs typeface="Times New Roman" pitchFamily="18" charset="0"/>
              </a:rPr>
              <a:t>Հաշվետվություններ ղեկավարությանը</a:t>
            </a:r>
            <a:endParaRPr lang="hy-AM" sz="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Rectangle 9"/>
          <p:cNvSpPr txBox="1">
            <a:spLocks/>
          </p:cNvSpPr>
          <p:nvPr/>
        </p:nvSpPr>
        <p:spPr bwMode="gray">
          <a:xfrm>
            <a:off x="5468762" y="5542608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Իրավաբանական հարցեր/ պայմանագրեր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Rectangle 9"/>
          <p:cNvSpPr txBox="1">
            <a:spLocks/>
          </p:cNvSpPr>
          <p:nvPr/>
        </p:nvSpPr>
        <p:spPr bwMode="gray">
          <a:xfrm>
            <a:off x="1177525" y="6040530"/>
            <a:ext cx="1215818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000" smtClean="0">
                <a:latin typeface="Times New Roman" pitchFamily="18" charset="0"/>
                <a:cs typeface="Times New Roman" pitchFamily="18" charset="0"/>
              </a:rPr>
              <a:t>ՏՏ</a:t>
            </a:r>
            <a:endParaRPr lang="hy-AM" sz="10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2" name="Rectangle 9"/>
          <p:cNvSpPr txBox="1">
            <a:spLocks/>
          </p:cNvSpPr>
          <p:nvPr/>
        </p:nvSpPr>
        <p:spPr bwMode="gray">
          <a:xfrm>
            <a:off x="2604811" y="5542607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Հաճախորդների սպասարկում 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4" name="Rectangle 9"/>
          <p:cNvSpPr txBox="1">
            <a:spLocks/>
          </p:cNvSpPr>
          <p:nvPr/>
        </p:nvSpPr>
        <p:spPr bwMode="gray">
          <a:xfrm>
            <a:off x="4034174" y="5542607"/>
            <a:ext cx="1124415" cy="39600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900" smtClean="0">
                <a:latin typeface="Times New Roman" pitchFamily="18" charset="0"/>
                <a:cs typeface="Times New Roman" pitchFamily="18" charset="0"/>
              </a:rPr>
              <a:t>Գործընկերություն</a:t>
            </a:r>
            <a:endParaRPr lang="hy-AM" sz="90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5" name="Elbow Connector 84"/>
          <p:cNvCxnSpPr>
            <a:stCxn id="75" idx="0"/>
            <a:endCxn id="84" idx="1"/>
          </p:cNvCxnSpPr>
          <p:nvPr/>
        </p:nvCxnSpPr>
        <p:spPr bwMode="gray">
          <a:xfrm rot="16200000" flipH="1">
            <a:off x="3111970" y="4818403"/>
            <a:ext cx="1776624" cy="6778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79" idx="0"/>
            <a:endCxn id="42" idx="1"/>
          </p:cNvCxnSpPr>
          <p:nvPr/>
        </p:nvCxnSpPr>
        <p:spPr bwMode="gray">
          <a:xfrm rot="16200000" flipH="1">
            <a:off x="10133" y="5071137"/>
            <a:ext cx="2274547" cy="60237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0"/>
          <p:cNvSpPr txBox="1"/>
          <p:nvPr/>
        </p:nvSpPr>
        <p:spPr bwMode="gray">
          <a:xfrm>
            <a:off x="1016878" y="1076342"/>
            <a:ext cx="697886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200" dirty="0" smtClean="0">
                <a:ea typeface="Arial Unicode MS"/>
                <a:cs typeface="Times New Roman" pitchFamily="18" charset="0"/>
              </a:rPr>
              <a:t>Ա</a:t>
            </a:r>
            <a:r>
              <a:rPr lang="hy-AM" sz="12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վիափոխադրողի հաջողության գրավականը 5 հիմնական գործառույթների մեջ է: Դրանք են՝ եկամտի/շահույթի կառավարումը, ցանցի կառավարումը/պլանավորումը, ՏՏ-ն, հաճախորդների սպասարկումը, գործառնություններն ու անվտանգությունը:</a:t>
            </a:r>
          </a:p>
          <a:p>
            <a:pPr lvl="1">
              <a:spcBef>
                <a:spcPct val="50000"/>
              </a:spcBef>
            </a:pPr>
            <a:r>
              <a:rPr lang="hy-AM" sz="12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Կայացած ավիաընկերություններում աշխատանքային փորձով մասնագետներից կազմված թիմ (ներգրավված </a:t>
            </a:r>
            <a:r>
              <a:rPr lang="en-US" sz="1200" dirty="0" err="1" smtClean="0">
                <a:latin typeface="Times New Roman" pitchFamily="18" charset="0"/>
                <a:ea typeface="Arial Unicode MS"/>
                <a:cs typeface="Times New Roman" pitchFamily="18" charset="0"/>
              </a:rPr>
              <a:t>արտաքին</a:t>
            </a:r>
            <a:r>
              <a:rPr lang="en-US" sz="12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 </a:t>
            </a:r>
            <a:r>
              <a:rPr lang="hy-AM" sz="12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մասնագետներ)</a:t>
            </a:r>
            <a:endParaRPr lang="hy-AM" sz="1200" dirty="0">
              <a:latin typeface="Times New Roman" pitchFamily="18" charset="0"/>
              <a:ea typeface="Arial Unicode MS"/>
              <a:cs typeface="Times New Roman" pitchFamily="18" charset="0"/>
            </a:endParaRPr>
          </a:p>
        </p:txBody>
      </p:sp>
      <p:sp>
        <p:nvSpPr>
          <p:cNvPr id="93" name="Title 1"/>
          <p:cNvSpPr txBox="1">
            <a:spLocks/>
          </p:cNvSpPr>
          <p:nvPr/>
        </p:nvSpPr>
        <p:spPr bwMode="gray">
          <a:xfrm>
            <a:off x="174944" y="401409"/>
            <a:ext cx="68277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y-AM" sz="1400" dirty="0" smtClean="0">
                <a:latin typeface="Times New Roman" pitchFamily="18" charset="0"/>
                <a:cs typeface="Times New Roman" pitchFamily="18" charset="0"/>
              </a:rPr>
              <a:t>Անհրաժեշտ է ստեղծել պրոֆեսիոնալ կազմակերպություն կառավարման և ցանցային պլանավորման գերազանց հմտություններ ունեցող անձնակազմով</a:t>
            </a:r>
            <a:endParaRPr lang="hy-AM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1" name="McK 1. On-page tracker"/>
          <p:cNvSpPr>
            <a:spLocks noChangeArrowheads="1"/>
          </p:cNvSpPr>
          <p:nvPr/>
        </p:nvSpPr>
        <p:spPr bwMode="auto">
          <a:xfrm>
            <a:off x="119285" y="0"/>
            <a:ext cx="457198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hy-AM" sz="1500" smtClean="0">
                <a:solidFill>
                  <a:srgbClr val="80808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ՊՐՈՖԵՍԻՈՆԱԼ ԿԱԶՄԱԿԵՐՊՈՒԹՅՈՒՆ</a:t>
            </a:r>
            <a:endParaRPr lang="hy-AM" sz="1500">
              <a:solidFill>
                <a:srgbClr val="808080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987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3067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09" name="think-cell Slide" r:id="rId33" imgW="360" imgH="360" progId="">
                  <p:embed/>
                </p:oleObj>
              </mc:Choice>
              <mc:Fallback>
                <p:oleObj name="think-cell Slide" r:id="rId33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40" name="Rectangle 3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74675" y="1847387"/>
            <a:ext cx="4994115" cy="42812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endParaRPr lang="hy-AM" sz="1100">
              <a:solidFill>
                <a:schemeClr val="tx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0" name="Rectangle 2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680075" y="1847387"/>
            <a:ext cx="3009900" cy="42812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hy-AM" sz="1400" dirty="0" smtClean="0"/>
              <a:t>Անհրաժեշտ է ստեղծել պրոֆեսիոնալ</a:t>
            </a:r>
            <a:r>
              <a:rPr lang="hy-AM" sz="1400" dirty="0" smtClean="0">
                <a:solidFill>
                  <a:srgbClr val="FF0000"/>
                </a:solidFill>
              </a:rPr>
              <a:t> </a:t>
            </a:r>
            <a:r>
              <a:rPr lang="hy-AM" sz="1400" dirty="0" smtClean="0"/>
              <a:t>կազմակերպություն պարտականությունների հստակ սահմանմամբ և ղեկավարման գերազանց հմտություններ ունեցող անձնակազմով</a:t>
            </a:r>
            <a:r>
              <a:rPr lang="hy-AM" sz="1400" dirty="0" smtClean="0">
                <a:solidFill>
                  <a:srgbClr val="FF0000"/>
                </a:solidFill>
              </a:rPr>
              <a:t>:</a:t>
            </a:r>
          </a:p>
          <a:p>
            <a:pPr lvl="1">
              <a:spcBef>
                <a:spcPct val="50000"/>
              </a:spcBef>
            </a:pPr>
            <a:r>
              <a:rPr lang="hy-AM" sz="1400" dirty="0" smtClean="0">
                <a:latin typeface="Sylfaen" pitchFamily="18" charset="0"/>
              </a:rPr>
              <a:t>5 օդանավ ունեցող տեղական ավիափոխադրողը պետք է ունենա </a:t>
            </a: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նվազագույնը ~ 180 աշխատակից, </a:t>
            </a:r>
            <a:r>
              <a:rPr lang="hy-AM" sz="1400" dirty="0" smtClean="0">
                <a:latin typeface="Sylfaen" pitchFamily="18" charset="0"/>
              </a:rPr>
              <a:t>այդ թվում`</a:t>
            </a:r>
          </a:p>
          <a:p>
            <a:pPr lvl="2">
              <a:spcBef>
                <a:spcPct val="25000"/>
              </a:spcBef>
            </a:pP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~ 8 - 10 փորձառու մենեջեր</a:t>
            </a:r>
            <a:r>
              <a:rPr lang="hy-AM" sz="1400" dirty="0" smtClean="0">
                <a:solidFill>
                  <a:schemeClr val="accent3"/>
                </a:solidFill>
                <a:latin typeface="Sylfaen" pitchFamily="18" charset="0"/>
              </a:rPr>
              <a:t>, </a:t>
            </a:r>
            <a:r>
              <a:rPr lang="hy-AM" sz="1400" dirty="0" smtClean="0">
                <a:latin typeface="Sylfaen" pitchFamily="18" charset="0"/>
              </a:rPr>
              <a:t>(հնարավոր է նաև`</a:t>
            </a:r>
            <a:r>
              <a:rPr lang="en-US" sz="1400" dirty="0" smtClean="0">
                <a:latin typeface="Sylfaen" pitchFamily="18" charset="0"/>
              </a:rPr>
              <a:t> </a:t>
            </a:r>
            <a:r>
              <a:rPr lang="hy-AM" sz="1400" dirty="0" smtClean="0">
                <a:latin typeface="Sylfaen" pitchFamily="18" charset="0"/>
              </a:rPr>
              <a:t>ներգրավված </a:t>
            </a:r>
            <a:r>
              <a:rPr lang="en-US" sz="1400" dirty="0" err="1" smtClean="0">
                <a:latin typeface="Sylfaen" pitchFamily="18" charset="0"/>
              </a:rPr>
              <a:t>արտաքին</a:t>
            </a:r>
            <a:r>
              <a:rPr lang="en-US" sz="1400" dirty="0" smtClean="0">
                <a:latin typeface="Sylfaen" pitchFamily="18" charset="0"/>
              </a:rPr>
              <a:t> </a:t>
            </a:r>
            <a:r>
              <a:rPr lang="hy-AM" sz="1400" dirty="0" smtClean="0">
                <a:latin typeface="Sylfaen" pitchFamily="18" charset="0"/>
              </a:rPr>
              <a:t>մասնագետներ)</a:t>
            </a:r>
          </a:p>
          <a:p>
            <a:pPr lvl="2">
              <a:spcBef>
                <a:spcPct val="25000"/>
              </a:spcBef>
            </a:pPr>
            <a:r>
              <a:rPr lang="hy-AM" sz="1400" b="1" dirty="0" smtClean="0">
                <a:solidFill>
                  <a:schemeClr val="accent3"/>
                </a:solidFill>
                <a:latin typeface="Sylfaen" pitchFamily="18" charset="0"/>
              </a:rPr>
              <a:t>գերազանց հմտություններ ունեցող ~ 40 օդաչու </a:t>
            </a:r>
            <a:endParaRPr lang="hy-AM" sz="1400" b="1" dirty="0">
              <a:solidFill>
                <a:schemeClr val="accent3"/>
              </a:solidFill>
              <a:latin typeface="Sylfaen" pitchFamily="18" charset="0"/>
            </a:endParaRPr>
          </a:p>
        </p:txBody>
      </p:sp>
      <p:sp>
        <p:nvSpPr>
          <p:cNvPr id="92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4944" y="6665247"/>
            <a:ext cx="782079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tabLst>
                <a:tab pos="625214" algn="l"/>
              </a:tabLst>
            </a:pPr>
            <a:r>
              <a:rPr lang="hy-AM" sz="100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Աղբյուր՝ Քրանֆիլդի համալսարանի գործարար ծրագիր, ՔԱՄԿ</a:t>
            </a:r>
            <a:endParaRPr lang="hy-AM" sz="100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Title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74944" y="401409"/>
            <a:ext cx="68277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y-AM" sz="1400" dirty="0" smtClean="0"/>
              <a:t>Տեղական ավիափոխադրողին անհրաժեշտ կլինի </a:t>
            </a:r>
            <a:r>
              <a:rPr lang="hy-AM" sz="1400" dirty="0" smtClean="0">
                <a:latin typeface="Sylfaen" pitchFamily="18" charset="0"/>
              </a:rPr>
              <a:t>նվազագույնը 180 աշխատակից</a:t>
            </a:r>
            <a:r>
              <a:rPr lang="hy-AM" sz="1400" dirty="0" smtClean="0"/>
              <a:t>, որոնց մոտ մեկ երրորդը՝ վարչական գործառույթների իրականացման նպատակով </a:t>
            </a:r>
            <a:endParaRPr lang="hy-AM" sz="1400" dirty="0"/>
          </a:p>
        </p:txBody>
      </p:sp>
      <p:sp>
        <p:nvSpPr>
          <p:cNvPr id="81" name="McK 1. On-page tracke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4944" y="0"/>
            <a:ext cx="35298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y-AM" sz="1400" smtClean="0">
                <a:solidFill>
                  <a:srgbClr val="808080"/>
                </a:solidFill>
                <a:latin typeface="Times New Roman" pitchFamily="18" charset="0"/>
                <a:cs typeface="Times New Roman" pitchFamily="18" charset="0"/>
              </a:rPr>
              <a:t>ՊՐՈՖԵՍԻՈՆԱԼ ԿԱԶՄԱԿԵՐՊՈՒԹՅՈՒՆ</a:t>
            </a:r>
            <a:endParaRPr lang="hy-AM" sz="1400">
              <a:solidFill>
                <a:srgbClr val="80808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9" name="Object 88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87580153"/>
              </p:ext>
            </p:extLst>
          </p:nvPr>
        </p:nvGraphicFramePr>
        <p:xfrm>
          <a:off x="1763670" y="2730528"/>
          <a:ext cx="2381385" cy="2381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10" name="Chart" r:id="rId35" imgW="2381385" imgH="2381160" progId="MSGraph.Chart.8">
                  <p:embed followColorScheme="full"/>
                </p:oleObj>
              </mc:Choice>
              <mc:Fallback>
                <p:oleObj name="Chart" r:id="rId35" imgW="2381385" imgH="2381160" progId="MSGraph.Chart.8">
                  <p:embed followColorScheme="full"/>
                  <p:pic>
                    <p:nvPicPr>
                      <p:cNvPr id="0" name="Picture 98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670" y="2730528"/>
                        <a:ext cx="2381385" cy="2381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>
            <p:custDataLst>
              <p:tags r:id="rId10"/>
            </p:custDataLst>
          </p:nvPr>
        </p:nvCxnSpPr>
        <p:spPr bwMode="gray">
          <a:xfrm flipV="1">
            <a:off x="2125663" y="4718050"/>
            <a:ext cx="133350" cy="153988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67910" y="3571751"/>
            <a:ext cx="11449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Մարդկային</a:t>
            </a:r>
          </a:p>
          <a:p>
            <a:r>
              <a:rPr lang="hy-AM" sz="1200" dirty="0" smtClean="0"/>
              <a:t> ռեսուրսներ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895475" y="366871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C16048-9DB6-4358-ABE6-02FEAF6D4831}" type="datetime'''''''''''''''''''''''''''''''''''''''''''''''''4'''''''''">
              <a:rPr lang="hy-AM" b="1" smtClean="0">
                <a:solidFill>
                  <a:schemeClr val="bg1"/>
                </a:solidFill>
              </a:rPr>
              <a:pPr algn="ctr"/>
              <a:t>4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15618" y="4008438"/>
            <a:ext cx="9859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smtClean="0"/>
              <a:t>Ղեկավարություն</a:t>
            </a:r>
            <a:endParaRPr lang="hy-AM" sz="12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916113" y="3959225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913693-BCF1-4819-876F-E11352D19A10}" type="datetime'''''''''''''''''''''5'''''''''''''''''''''''''''''''''''''''">
              <a:rPr lang="hy-AM" b="1" smtClean="0">
                <a:solidFill>
                  <a:schemeClr val="bg1"/>
                </a:solidFill>
              </a:rPr>
              <a:pPr algn="ctr"/>
              <a:t>5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771650" y="4392613"/>
            <a:ext cx="1809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smtClean="0"/>
              <a:t>ՏՏ</a:t>
            </a:r>
            <a:endParaRPr lang="hy-AM" sz="12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055813" y="425291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ADEED2E-71DC-489E-B12F-6CB44E95EC6C}" type="datetime'''''''''''''''''''''''5'''">
              <a:rPr lang="hy-AM" b="1" smtClean="0">
                <a:solidFill>
                  <a:schemeClr val="bg1"/>
                </a:solidFill>
              </a:rPr>
              <a:pPr algn="ctr"/>
              <a:t>5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 flipH="1">
            <a:off x="1152938" y="4629136"/>
            <a:ext cx="1041621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Թռիչքների</a:t>
            </a:r>
          </a:p>
          <a:p>
            <a:r>
              <a:rPr lang="hy-AM" sz="1200" dirty="0" smtClean="0"/>
              <a:t> շահագործում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271713" y="4486275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A34821-8719-42ED-B0D3-DCA48BDAD267}" type="datetime'''''''''''''''''''''''''''''''''''''''''''''''''5'''''''''''''">
              <a:rPr lang="hy-AM" b="1" smtClean="0">
                <a:solidFill>
                  <a:schemeClr val="bg1"/>
                </a:solidFill>
              </a:rPr>
              <a:pPr algn="ctr"/>
              <a:t>5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005013" y="5126038"/>
            <a:ext cx="7207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Ֆինանսական</a:t>
            </a:r>
          </a:p>
          <a:p>
            <a:r>
              <a:rPr lang="hy-AM" sz="1200" dirty="0" smtClean="0"/>
              <a:t> բաժին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616200" y="4673600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DC0B914-D38C-40D3-B550-683C5C51E7FC}" type="datetime'''''''8'''''''''''''''''''''''''''''''''''''">
              <a:rPr lang="hy-AM" b="1" smtClean="0">
                <a:solidFill>
                  <a:schemeClr val="bg1"/>
                </a:solidFill>
              </a:rPr>
              <a:pPr algn="ctr"/>
              <a:t>8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140765" y="5005388"/>
            <a:ext cx="115659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Ընդհանուր վարչություն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082925" y="469423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4EE19B-6DBD-4E51-9EA5-2749BAAD40AB}" type="datetime'''''''''''8'''">
              <a:rPr lang="hy-AM" b="1" smtClean="0">
                <a:solidFill>
                  <a:schemeClr val="bg1"/>
                </a:solidFill>
              </a:rPr>
              <a:pPr algn="ctr"/>
              <a:t>8</a:t>
            </a:fld>
            <a:endParaRPr lang="hy-AM" b="1" smtClean="0">
              <a:solidFill>
                <a:schemeClr val="bg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021138" y="4314825"/>
            <a:ext cx="10588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smtClean="0"/>
              <a:t>Օդանավի անձնակազմ</a:t>
            </a:r>
            <a:endParaRPr lang="hy-AM" sz="12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649663" y="2768600"/>
            <a:ext cx="4953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Օդաչուներ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20698" y="2527328"/>
            <a:ext cx="15700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200" dirty="0" smtClean="0"/>
              <a:t>Վերգետնյա</a:t>
            </a:r>
          </a:p>
          <a:p>
            <a:r>
              <a:rPr lang="hy-AM" sz="1200" dirty="0" smtClean="0"/>
              <a:t>սպասարկում և </a:t>
            </a:r>
          </a:p>
          <a:p>
            <a:r>
              <a:rPr lang="hy-AM" sz="1200" dirty="0" smtClean="0"/>
              <a:t>կայանների մենեջերներ</a:t>
            </a:r>
            <a:endParaRPr lang="hy-AM" sz="1200" dirty="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8" name="Legend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894343" y="975250"/>
            <a:ext cx="178253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hy-AM" sz="1200" smtClean="0">
                <a:latin typeface="Arial" pitchFamily="34" charset="0"/>
                <a:cs typeface="Arial" pitchFamily="34" charset="0"/>
              </a:rPr>
              <a:t>Վարչական անձնակազմ </a:t>
            </a:r>
            <a:endParaRPr lang="hy-AM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LegendRectangle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616488" y="1002266"/>
            <a:ext cx="165100" cy="1603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hy-AM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Legend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838684" y="1261026"/>
            <a:ext cx="2670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hy-AM" sz="1200" smtClean="0">
                <a:latin typeface="Arial" pitchFamily="34" charset="0"/>
                <a:cs typeface="Arial" pitchFamily="34" charset="0"/>
              </a:rPr>
              <a:t>Չվերթներ և վերգետնյա սպասարկում</a:t>
            </a:r>
            <a:endParaRPr lang="hy-AM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LegendRectangle2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608536" y="1264187"/>
            <a:ext cx="165100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y-AM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AutoShape 25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71513" y="2209112"/>
            <a:ext cx="4799360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t" anchorCtr="0">
            <a:spAutoFit/>
          </a:bodyPr>
          <a:lstStyle/>
          <a:p>
            <a:r>
              <a:rPr lang="hy-AM" sz="1400" smtClean="0">
                <a:solidFill>
                  <a:srgbClr val="808080"/>
                </a:solidFill>
                <a:latin typeface="Arial"/>
                <a:cs typeface="Arial"/>
              </a:rPr>
              <a:t>Տոկոս (պահանջվող ընդհանուր անձնակազմ` </a:t>
            </a:r>
            <a:r>
              <a:rPr lang="hy-AM" sz="1400" smtClean="0">
                <a:solidFill>
                  <a:srgbClr val="808080"/>
                </a:solidFill>
                <a:latin typeface="Sylfaen" pitchFamily="18" charset="0"/>
                <a:cs typeface="Arial"/>
              </a:rPr>
              <a:t>~ 180)</a:t>
            </a:r>
            <a:endParaRPr lang="hy-AM" sz="1400" baseline="0">
              <a:solidFill>
                <a:srgbClr val="808080"/>
              </a:solidFill>
              <a:latin typeface="Sylfaen" pitchFamily="18" charset="0"/>
              <a:cs typeface="Arial"/>
            </a:endParaRPr>
          </a:p>
        </p:txBody>
      </p:sp>
      <p:sp>
        <p:nvSpPr>
          <p:cNvPr id="43" name="Rectangle 9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574675" y="1847387"/>
            <a:ext cx="4994115" cy="33328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300" b="1" dirty="0" smtClean="0">
                <a:solidFill>
                  <a:schemeClr val="accent3"/>
                </a:solidFill>
                <a:latin typeface="Sylfaen" pitchFamily="18" charset="0"/>
              </a:rPr>
              <a:t>5 օ</a:t>
            </a:r>
            <a:r>
              <a:rPr lang="hy-AM" sz="1300" b="1" dirty="0" smtClean="0">
                <a:solidFill>
                  <a:schemeClr val="accent3"/>
                </a:solidFill>
              </a:rPr>
              <a:t>դանավ ունեցող ավիափոխադրողի վարչակազմակերպական կառուցվածքը </a:t>
            </a:r>
            <a:endParaRPr lang="hy-AM" sz="1300" b="1" dirty="0">
              <a:solidFill>
                <a:schemeClr val="accent3"/>
              </a:solidFill>
            </a:endParaRPr>
          </a:p>
        </p:txBody>
      </p:sp>
      <p:sp>
        <p:nvSpPr>
          <p:cNvPr id="3" name="Rectangle 5"/>
          <p:cNvSpPr txBox="1"/>
          <p:nvPr/>
        </p:nvSpPr>
        <p:spPr>
          <a:xfrm>
            <a:off x="773325" y="5566625"/>
            <a:ext cx="438976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hy-AM" sz="1200" smtClean="0"/>
              <a:t>Անձնակազմի </a:t>
            </a:r>
            <a:r>
              <a:rPr lang="hy-AM" sz="1200" smtClean="0">
                <a:latin typeface="Sylfaen" pitchFamily="18" charset="0"/>
              </a:rPr>
              <a:t>մոտ 1/3-ը կատարում </a:t>
            </a:r>
            <a:r>
              <a:rPr lang="hy-AM" sz="1200" smtClean="0"/>
              <a:t>է </a:t>
            </a:r>
            <a:r>
              <a:rPr lang="hy-AM" sz="1200" smtClean="0">
                <a:latin typeface="Sylfaen" pitchFamily="18" charset="0"/>
              </a:rPr>
              <a:t>վարչական</a:t>
            </a:r>
            <a:r>
              <a:rPr lang="hy-AM" sz="1200" smtClean="0"/>
              <a:t> գործառույթներ:</a:t>
            </a:r>
            <a:endParaRPr lang="hy-AM" sz="1200"/>
          </a:p>
        </p:txBody>
      </p:sp>
    </p:spTree>
    <p:extLst>
      <p:ext uri="{BB962C8B-B14F-4D97-AF65-F5344CB8AC3E}">
        <p14:creationId xmlns:p14="http://schemas.microsoft.com/office/powerpoint/2010/main" val="35103592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067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264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 bwMode="gray">
          <a:xfrm>
            <a:off x="287180" y="1143001"/>
            <a:ext cx="8395015" cy="41148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hy-AM" sz="13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" name="Straight Connector 34"/>
          <p:cNvCxnSpPr/>
          <p:nvPr>
            <p:custDataLst>
              <p:tags r:id="rId4"/>
            </p:custDataLst>
          </p:nvPr>
        </p:nvCxnSpPr>
        <p:spPr bwMode="gray">
          <a:xfrm>
            <a:off x="7648575" y="4010025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gray">
          <a:xfrm>
            <a:off x="6000750" y="3743325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gray">
          <a:xfrm>
            <a:off x="4352925" y="3286125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7"/>
            </p:custDataLst>
          </p:nvPr>
        </p:nvCxnSpPr>
        <p:spPr bwMode="gray">
          <a:xfrm>
            <a:off x="6819900" y="3819525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8"/>
            </p:custDataLst>
          </p:nvPr>
        </p:nvCxnSpPr>
        <p:spPr bwMode="gray">
          <a:xfrm>
            <a:off x="5172075" y="3619500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9"/>
            </p:custDataLst>
          </p:nvPr>
        </p:nvCxnSpPr>
        <p:spPr bwMode="gray">
          <a:xfrm>
            <a:off x="2705100" y="2762250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0"/>
            </p:custDataLst>
          </p:nvPr>
        </p:nvCxnSpPr>
        <p:spPr bwMode="gray">
          <a:xfrm>
            <a:off x="1885950" y="2533650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1"/>
            </p:custDataLst>
          </p:nvPr>
        </p:nvCxnSpPr>
        <p:spPr bwMode="gray">
          <a:xfrm>
            <a:off x="3533775" y="2905125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2"/>
            </p:custDataLst>
          </p:nvPr>
        </p:nvCxnSpPr>
        <p:spPr bwMode="gray">
          <a:xfrm>
            <a:off x="1057275" y="2000250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75069662"/>
              </p:ext>
            </p:extLst>
          </p:nvPr>
        </p:nvGraphicFramePr>
        <p:xfrm>
          <a:off x="266700" y="1905000"/>
          <a:ext cx="8429743" cy="2247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265" name="Chart" r:id="rId37" imgW="8429743" imgH="2247921" progId="MSGraph.Chart.8">
                  <p:embed followColorScheme="full"/>
                </p:oleObj>
              </mc:Choice>
              <mc:Fallback>
                <p:oleObj name="Chart" r:id="rId37" imgW="8429743" imgH="2247921" progId="MSGraph.Chart.8">
                  <p:embed followColorScheme="full"/>
                  <p:pic>
                    <p:nvPicPr>
                      <p:cNvPr id="0" name="Picture 349"/>
                      <p:cNvPicPr>
                        <a:picLocks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" y="1905000"/>
                        <a:ext cx="8429743" cy="22479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41" name="Rectangle 4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545138" y="3582988"/>
            <a:ext cx="322263" cy="19843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F5B4B75F-D602-4BD3-81A4-CFE703454EF4}" type="datetime'''''''''''''''''1''0'''''''''''''''''''''''''">
              <a:rPr lang="hy-AM" sz="1300" smtClean="0"/>
              <a:pPr algn="ctr"/>
              <a:t>10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412974" y="4200525"/>
            <a:ext cx="938254" cy="824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Օդանավակայանի երթևեկության կառավարման ծառայություն </a:t>
            </a:r>
            <a:endParaRPr lang="hy-AM" sz="100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721225" y="3354388"/>
            <a:ext cx="322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BF1F67A9-24B5-474A-8363-5509481F5AFC}" type="datetime'''''''''''''''''''''''''''''''''''''2''''''6'">
              <a:rPr lang="hy-AM" sz="1300" smtClean="0"/>
              <a:pPr algn="ctr"/>
              <a:t>26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2" name="Rectangle 1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430338" y="2168525"/>
            <a:ext cx="322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BD6117AF-30B2-4436-A693-1FA51D5D394C}" type="datetime'''''4''''''''''''''''''''''''''''2'''''''''''''">
              <a:rPr lang="hy-AM" sz="1300" smtClean="0"/>
              <a:pPr algn="ctr"/>
              <a:t>42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476250" y="4200525"/>
            <a:ext cx="6937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Տոմսերից ստացվող եկամուտ</a:t>
            </a: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60388" y="1776413"/>
            <a:ext cx="4143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4FED384E-D703-4D67-8EDE-B7E6229A8C8C}" type="datetime'''1''6''''''''''''0'''''''''''''''''''''''''''''''''">
              <a:rPr lang="hy-AM" sz="1300" smtClean="0"/>
              <a:pPr algn="ctr"/>
              <a:t>160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110538" y="3786188"/>
            <a:ext cx="133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ED41770-3082-410A-978D-04F414AEB476}" type="datetime'''''3'''''''''''''''''''''''''''''''''''">
              <a:rPr lang="hy-AM" sz="1300" smtClean="0"/>
              <a:pPr algn="ctr"/>
              <a:t>3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192963" y="3816350"/>
            <a:ext cx="322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19FB53DE-A1EA-40E5-B448-0801DED0574F}" type="datetime'''''''''''''''''1''''''''''''''''''''''''''''''''4'''''''''''">
              <a:rPr lang="hy-AM" sz="1300" smtClean="0"/>
              <a:pPr algn="ctr"/>
              <a:t>14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238875" y="4200525"/>
            <a:ext cx="793750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Ընդհանուր և վարչական ծախսեր</a:t>
            </a:r>
            <a:endParaRPr lang="hy-AM" sz="130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43" name="Rectangle 4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415088" y="3683000"/>
            <a:ext cx="230188" cy="198438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4ACBF95D-9AF4-474B-A628-FC61FBFC572F}" type="datetime'''''''''6'''''''''''">
              <a:rPr lang="hy-AM" sz="1300" smtClean="0"/>
              <a:pPr algn="ctr"/>
              <a:t>6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2767054" y="4200525"/>
            <a:ext cx="795129" cy="65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Պահպանում</a:t>
            </a:r>
            <a:endParaRPr lang="hy-AM" sz="100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027583" y="4200525"/>
            <a:ext cx="633067" cy="530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Օդանավի վարձակալություն</a:t>
            </a:r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410200" y="4200525"/>
            <a:ext cx="83978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Գովազդ, վաճառք, </a:t>
            </a:r>
            <a:br>
              <a:rPr lang="hy-AM" sz="1000" smtClean="0">
                <a:latin typeface="Arial"/>
                <a:ea typeface="Arial Unicode MS"/>
                <a:cs typeface="Arial"/>
                <a:sym typeface="Arial"/>
              </a:rPr>
            </a:br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իրացման ծախսեր</a:t>
            </a: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58025" y="4200525"/>
            <a:ext cx="7762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Այլ ծախսեր</a:t>
            </a: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886701" y="4200525"/>
            <a:ext cx="589389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Շահույթ</a:t>
            </a: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078163" y="2735263"/>
            <a:ext cx="322263" cy="19843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1E491CD4-2AD4-4AF3-A4B0-2CB4FD7D6C12}" type="datetime'''''''''''''''''''''''''''''''''''''''11'">
              <a:rPr lang="hy-AM" sz="1300" smtClean="0"/>
              <a:pPr algn="ctr"/>
              <a:t>11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771900" y="4200525"/>
            <a:ext cx="527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Կայանատեղի  արժեք </a:t>
            </a:r>
            <a:endParaRPr lang="hy-AM" sz="100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3902075" y="2997200"/>
            <a:ext cx="322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B35A7668-6D78-4AFA-AA31-078AC3684D11}" type="datetime'''''3''''''''''''''''''''''''''''''''''''''0'''''''''''">
              <a:rPr lang="hy-AM" sz="1300" smtClean="0"/>
              <a:pPr algn="ctr"/>
              <a:t>30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 useBgFill="1">
        <p:nvSpPr>
          <p:cNvPr id="13" name="Rectangle 1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254250" y="2549525"/>
            <a:ext cx="3222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y-AM" sz="1300" smtClean="0">
                <a:latin typeface="Arial"/>
                <a:cs typeface="Arial"/>
                <a:sym typeface="Arial"/>
              </a:rPr>
              <a:t>~</a:t>
            </a:r>
            <a:fld id="{9F5D617A-C09E-4A85-A26F-F8E7CD1CF6EB}" type="datetime'''''''''''''''''''''''''1''''''''''8'''''''''''''">
              <a:rPr lang="hy-AM" sz="1300" smtClean="0"/>
              <a:pPr algn="ctr"/>
              <a:t>18</a:t>
            </a:fld>
            <a:endParaRPr lang="hy-AM" sz="1300" smtClean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1295401" y="4200525"/>
            <a:ext cx="6842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indent="-25876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indent="-20320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indent="-2254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Ø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indent="-17462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hy-AM" sz="1000" smtClean="0">
                <a:latin typeface="Arial"/>
                <a:ea typeface="Arial Unicode MS"/>
                <a:cs typeface="Arial"/>
                <a:sym typeface="Arial"/>
              </a:rPr>
              <a:t>Վառելիքի արժեք</a:t>
            </a:r>
          </a:p>
        </p:txBody>
      </p:sp>
      <p:sp>
        <p:nvSpPr>
          <p:cNvPr id="54" name="Rectangle 23"/>
          <p:cNvSpPr txBox="1"/>
          <p:nvPr/>
        </p:nvSpPr>
        <p:spPr bwMode="gray">
          <a:xfrm>
            <a:off x="413467" y="5049079"/>
            <a:ext cx="7871791" cy="10336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hy-AM" sz="1300" dirty="0" smtClean="0">
                <a:latin typeface="Sylfaen" pitchFamily="18" charset="0"/>
              </a:rPr>
              <a:t>Շահույթի ցածր, բայց </a:t>
            </a:r>
            <a:r>
              <a:rPr lang="hy-AM" sz="1300" b="1" dirty="0" smtClean="0">
                <a:solidFill>
                  <a:schemeClr val="accent3"/>
                </a:solidFill>
                <a:latin typeface="Sylfaen" pitchFamily="18" charset="0"/>
              </a:rPr>
              <a:t>դրական 2% մարժա</a:t>
            </a:r>
            <a:r>
              <a:rPr lang="en-US" sz="1300" b="1" dirty="0" smtClean="0">
                <a:solidFill>
                  <a:schemeClr val="accent3"/>
                </a:solidFill>
                <a:latin typeface="Sylfaen" pitchFamily="18" charset="0"/>
              </a:rPr>
              <a:t> </a:t>
            </a:r>
            <a:r>
              <a:rPr lang="hy-AM" sz="1300" dirty="0" smtClean="0">
                <a:latin typeface="Sylfaen" pitchFamily="18" charset="0"/>
              </a:rPr>
              <a:t>ավիաընկերության ճիշտ կառավարման դեպքում </a:t>
            </a:r>
          </a:p>
          <a:p>
            <a:pPr lvl="1">
              <a:spcBef>
                <a:spcPts val="300"/>
              </a:spcBef>
            </a:pPr>
            <a:r>
              <a:rPr lang="hy-AM" sz="1300" dirty="0" smtClean="0">
                <a:latin typeface="Sylfaen" pitchFamily="18" charset="0"/>
              </a:rPr>
              <a:t>Զգալի կապիտալի պահանջ.</a:t>
            </a:r>
          </a:p>
          <a:p>
            <a:pPr lvl="2">
              <a:spcBef>
                <a:spcPts val="300"/>
              </a:spcBef>
            </a:pPr>
            <a:r>
              <a:rPr lang="hy-AM" sz="1300" b="1" dirty="0" smtClean="0">
                <a:solidFill>
                  <a:schemeClr val="accent3"/>
                </a:solidFill>
                <a:latin typeface="Sylfaen" pitchFamily="18" charset="0"/>
              </a:rPr>
              <a:t>15-20 միլիոն ԱՄՆ դոլար՝ սկզբնական ծախսեր</a:t>
            </a:r>
          </a:p>
          <a:p>
            <a:pPr lvl="2">
              <a:spcBef>
                <a:spcPts val="300"/>
              </a:spcBef>
            </a:pPr>
            <a:r>
              <a:rPr lang="hy-AM" sz="1300" b="1" dirty="0" smtClean="0">
                <a:solidFill>
                  <a:schemeClr val="accent3"/>
                </a:solidFill>
                <a:latin typeface="Sylfaen" pitchFamily="18" charset="0"/>
              </a:rPr>
              <a:t>30-45 միլիոն ԱՄՆ դոլար՝ </a:t>
            </a:r>
            <a:r>
              <a:rPr lang="hy-AM" sz="1300" dirty="0" smtClean="0">
                <a:latin typeface="Sylfaen" pitchFamily="18" charset="0"/>
              </a:rPr>
              <a:t>առաջին 3 ամիսների</a:t>
            </a:r>
            <a:r>
              <a:rPr lang="hy-AM" sz="1300" b="1" dirty="0" smtClean="0">
                <a:solidFill>
                  <a:schemeClr val="accent3"/>
                </a:solidFill>
                <a:latin typeface="Sylfaen" pitchFamily="18" charset="0"/>
              </a:rPr>
              <a:t> գործառնական ծախսեր</a:t>
            </a:r>
            <a:endParaRPr lang="hy-AM" sz="1300" dirty="0">
              <a:latin typeface="Sylfaen" pitchFamily="18" charset="0"/>
            </a:endParaRPr>
          </a:p>
        </p:txBody>
      </p:sp>
      <p:sp>
        <p:nvSpPr>
          <p:cNvPr id="55" name="McK 4. Footnote"/>
          <p:cNvSpPr txBox="1">
            <a:spLocks noChangeArrowheads="1"/>
          </p:cNvSpPr>
          <p:nvPr/>
        </p:nvSpPr>
        <p:spPr bwMode="gray">
          <a:xfrm>
            <a:off x="174944" y="6150136"/>
            <a:ext cx="879411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4138" indent="-84138" defTabSz="895350">
              <a:defRPr sz="100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hy-AM" sz="800" dirty="0" smtClean="0">
                <a:latin typeface="Sylfaen" pitchFamily="18" charset="0"/>
              </a:rPr>
              <a:t>1. 2016 թ. 9 ուղղություններով չվերթների համար հաշվարկված եկամուտները` յուրաքանչյուր ուղղությամբ շուկայի մասնաբաժնի 40%-ի պարագայում:</a:t>
            </a:r>
          </a:p>
          <a:p>
            <a:r>
              <a:rPr lang="hy-AM" sz="800" dirty="0" smtClean="0">
                <a:latin typeface="Sylfaen" pitchFamily="18" charset="0"/>
              </a:rPr>
              <a:t>Ներկայիս գնի համեմատ</a:t>
            </a:r>
            <a:r>
              <a:rPr lang="en-US" sz="800" dirty="0" smtClean="0">
                <a:latin typeface="Sylfaen" pitchFamily="18" charset="0"/>
              </a:rPr>
              <a:t>՝</a:t>
            </a:r>
            <a:r>
              <a:rPr lang="hy-AM" sz="800" dirty="0" smtClean="0">
                <a:latin typeface="Sylfaen" pitchFamily="18" charset="0"/>
              </a:rPr>
              <a:t> ավիատոմսի գնի ~10% նվազում (հաշվի առնելով գնաճը) բաց երկնքի քաղաքականության արդյունքում ընդլայնված մրցակցության շնորհիվ</a:t>
            </a:r>
            <a:r>
              <a:rPr lang="en-US" sz="800" dirty="0">
                <a:solidFill>
                  <a:srgbClr val="FF0000"/>
                </a:solidFill>
                <a:latin typeface="Sylfaen" pitchFamily="18" charset="0"/>
              </a:rPr>
              <a:t>.</a:t>
            </a:r>
            <a:r>
              <a:rPr lang="hy-AM" sz="800" dirty="0" smtClean="0">
                <a:solidFill>
                  <a:srgbClr val="FF0000"/>
                </a:solidFill>
                <a:latin typeface="Sylfaen" pitchFamily="18" charset="0"/>
              </a:rPr>
              <a:t> </a:t>
            </a:r>
            <a:r>
              <a:rPr lang="hy-AM" sz="800" dirty="0" smtClean="0">
                <a:latin typeface="Sylfaen" pitchFamily="18" charset="0"/>
              </a:rPr>
              <a:t>ծախսերի բաշխումը</a:t>
            </a:r>
            <a:r>
              <a:rPr lang="en-US" sz="800" dirty="0" smtClean="0">
                <a:latin typeface="Sylfaen" pitchFamily="18" charset="0"/>
              </a:rPr>
              <a:t> </a:t>
            </a:r>
            <a:r>
              <a:rPr lang="hy-AM" sz="800" dirty="0" smtClean="0">
                <a:latin typeface="Sylfaen" pitchFamily="18" charset="0"/>
              </a:rPr>
              <a:t>կատարված է «Արմավիայի» և նման մեծությամբ այլ ավիաընկերությունների տվյալների հիման վրա:</a:t>
            </a:r>
            <a:r>
              <a:rPr lang="hy-AM" dirty="0" smtClean="0">
                <a:latin typeface="Sylfaen" pitchFamily="18" charset="0"/>
              </a:rPr>
              <a:t> </a:t>
            </a:r>
            <a:endParaRPr lang="hy-AM" dirty="0">
              <a:latin typeface="Sylfaen" pitchFamily="18" charset="0"/>
            </a:endParaRPr>
          </a:p>
        </p:txBody>
      </p:sp>
      <p:sp>
        <p:nvSpPr>
          <p:cNvPr id="57" name="McK 5. Source"/>
          <p:cNvSpPr>
            <a:spLocks noChangeArrowheads="1"/>
          </p:cNvSpPr>
          <p:nvPr/>
        </p:nvSpPr>
        <p:spPr bwMode="gray">
          <a:xfrm>
            <a:off x="-1" y="6649083"/>
            <a:ext cx="8881607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55613" indent="-455613" defTabSz="913526">
              <a:lnSpc>
                <a:spcPct val="90000"/>
              </a:lnSpc>
              <a:tabLst>
                <a:tab pos="625214" algn="l"/>
              </a:tabLst>
            </a:pPr>
            <a:r>
              <a:rPr lang="hy-AM" sz="800" smtClean="0">
                <a:latin typeface="Sylfaen" pitchFamily="18" charset="0"/>
              </a:rPr>
              <a:t>Աղբյուր՝ Diio Mio; ՀՀ ԱՎԾ, «Զվարթնոց» օդանավակայան, «Արմավիայի» 2009 և 2010 թթ. տարեկան հաշվետվություններ, Համաշխարհային բանկ,  IATA Monitor, ՔԱՄԿ, Ամերիաբանկ, Global Insight, հատվածներ մամուլի հրապարակումներից, վերլուծաբանների հաշվետվություններ, Ավիաընկերությունների պաշտոնական ուղեցույցի վերլուծիչ</a:t>
            </a:r>
          </a:p>
          <a:p>
            <a:pPr marL="455613" indent="-455613" defTabSz="913526">
              <a:lnSpc>
                <a:spcPct val="90000"/>
              </a:lnSpc>
              <a:tabLst>
                <a:tab pos="625214" algn="l"/>
              </a:tabLst>
            </a:pPr>
            <a:endParaRPr lang="hy-AM" sz="900">
              <a:solidFill>
                <a:schemeClr val="accent6"/>
              </a:solidFill>
              <a:latin typeface="Sylfaen" pitchFamily="18" charset="0"/>
              <a:cs typeface="Arial" pitchFamily="34" charset="0"/>
            </a:endParaRPr>
          </a:p>
        </p:txBody>
      </p:sp>
      <p:sp>
        <p:nvSpPr>
          <p:cNvPr id="58" name="Title 1"/>
          <p:cNvSpPr txBox="1">
            <a:spLocks/>
          </p:cNvSpPr>
          <p:nvPr/>
        </p:nvSpPr>
        <p:spPr bwMode="gray">
          <a:xfrm>
            <a:off x="174944" y="93630"/>
            <a:ext cx="6827725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  <a:sym typeface="Arial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lvl="1">
              <a:tabLst>
                <a:tab pos="275353" algn="l"/>
              </a:tabLst>
            </a:pPr>
            <a:r>
              <a:rPr lang="hy-AM" sz="1600" b="0" smtClean="0">
                <a:latin typeface="+mj-lt"/>
                <a:ea typeface="Arial Unicode MS" pitchFamily="34" charset="-128"/>
                <a:cs typeface="Arial Unicode MS" pitchFamily="34" charset="-128"/>
                <a:sym typeface="Arial"/>
              </a:rPr>
              <a:t>Շահույթի դրական մարժա և երկարաժամկետ տնտեսական  կենսունակություն կարելի է ապահովել ավիափոխադրողի ճիշտ կառավարման դեպքում </a:t>
            </a:r>
          </a:p>
        </p:txBody>
      </p:sp>
      <p:sp>
        <p:nvSpPr>
          <p:cNvPr id="44" name="AutoShape 250"/>
          <p:cNvSpPr>
            <a:spLocks noChangeArrowheads="1"/>
          </p:cNvSpPr>
          <p:nvPr/>
        </p:nvSpPr>
        <p:spPr bwMode="gray">
          <a:xfrm>
            <a:off x="369887" y="1484967"/>
            <a:ext cx="8229600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t" anchorCtr="0">
            <a:spAutoFit/>
          </a:bodyPr>
          <a:lstStyle/>
          <a:p>
            <a:r>
              <a:rPr lang="hy-AM" sz="1300" smtClean="0">
                <a:solidFill>
                  <a:srgbClr val="808080"/>
                </a:solidFill>
                <a:latin typeface="Arial"/>
                <a:cs typeface="Arial"/>
              </a:rPr>
              <a:t>Մլն ԱՄՆ դոլար</a:t>
            </a:r>
            <a:endParaRPr lang="hy-AM" sz="130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46" name="Rectangle 9"/>
          <p:cNvSpPr txBox="1">
            <a:spLocks/>
          </p:cNvSpPr>
          <p:nvPr/>
        </p:nvSpPr>
        <p:spPr bwMode="gray">
          <a:xfrm>
            <a:off x="287180" y="1143001"/>
            <a:ext cx="8395015" cy="33328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60350" lvl="1" indent="-258763" defTabSz="913526" eaLnBrk="1" hangingPunct="1">
              <a:buClr>
                <a:schemeClr val="accent2"/>
              </a:buClr>
              <a:buSzPct val="10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2pPr>
            <a:lvl3pPr marL="465138" lvl="2" indent="-203200" defTabSz="913526" eaLnBrk="1" hangingPunct="1">
              <a:buClr>
                <a:schemeClr val="accent2"/>
              </a:buClr>
              <a:buSzPct val="13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90563" lvl="3" indent="-225425" defTabSz="913526" eaLnBrk="1" hangingPunct="1">
              <a:buClr>
                <a:schemeClr val="accent2"/>
              </a:buClr>
              <a:buSzPct val="80000"/>
              <a:buFont typeface="Wingdings" pitchFamily="2" charset="2"/>
              <a:buChar char="Ø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4pPr>
            <a:lvl5pPr marL="865188" lvl="4" indent="-174625" defTabSz="913526" eaLnBrk="1" hangingPunct="1">
              <a:buClr>
                <a:schemeClr val="accent2"/>
              </a:buClr>
              <a:buSzPct val="100000"/>
              <a:buFont typeface="Arial" pitchFamily="34" charset="0"/>
              <a:buChar char="▪"/>
              <a:defRPr baseline="0">
                <a:latin typeface="Arial" pitchFamily="34" charset="0"/>
                <a:ea typeface="Arial Unicode MS" pitchFamily="34" charset="-128"/>
                <a:cs typeface="Arial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hy-AM" sz="1300" b="1" smtClean="0">
                <a:solidFill>
                  <a:schemeClr val="accent3"/>
                </a:solidFill>
              </a:rPr>
              <a:t>Տեղական ավիափոխադրողի եկամուտների և ծախսերի ճիշտ հարաբերակցություն </a:t>
            </a:r>
            <a:r>
              <a:rPr lang="hy-AM" sz="1300" b="1" baseline="30000" smtClean="0">
                <a:solidFill>
                  <a:schemeClr val="accent3"/>
                </a:solidFill>
              </a:rPr>
              <a:t>1</a:t>
            </a:r>
            <a:endParaRPr lang="hy-AM" sz="1300" b="1" baseline="300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6682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2.61477363519000060000E+000&quot;&gt;&lt;m_ppcolschidx val=&quot;0&quot;/&gt;&lt;m_rgb r=&quot;aa&quot; g=&quot;aa&quot; b=&quot;aa&quot;/&gt;&lt;/elem&gt;&lt;elem m_fUsage=&quot;1.89999999999999990000E+000&quot;&gt;&lt;m_ppcolschidx val=&quot;0&quot;/&gt;&lt;m_rgb r=&quot;dd&quot; g=&quot;dd&quot; b=&quot;dd&quot;/&gt;&lt;/elem&gt;&lt;elem m_fUsage=&quot;1.40049000000000000000E+000&quot;&gt;&lt;m_ppcolschidx val=&quot;0&quot;/&gt;&lt;m_rgb r=&quot;0&quot; g=&quot;29&quot; b=&quot;60&quot;/&gt;&lt;/elem&gt;&lt;elem m_fUsage=&quot;1.26044100000000010000E+000&quot;&gt;&lt;m_ppcolschidx val=&quot;0&quot;/&gt;&lt;m_rgb r=&quot;13&quot; g=&quot;76&quot; b=&quot;e&quot;/&gt;&lt;/elem&gt;&lt;elem m_fUsage=&quot;5.36616119313900080000E-001&quot;&gt;&lt;m_ppcolschidx val=&quot;0&quot;/&gt;&lt;m_rgb r=&quot;cc&quot; g=&quot;0&quot; b=&quot;99&quot;/&gt;&lt;/elem&gt;&lt;/m_vecMRU&gt;&lt;/m_mruColor&gt;&lt;m_mapectfillschemeMRU&gt;&lt;key val=&quot;0&quot;/&gt;&lt;elem&gt;&lt;m_nPartnerID val=&quot;536&quot;/&gt;&lt;m_nIndex val=&quot;1&quot;/&gt;&lt;/elem&gt;&lt;key val=&quot;3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pZUvrC4EuWSofMS9jU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.BQ3P20yX2m5MIsM2q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W7_mkiBEWJ3TrL6PcYf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C2mGLF.UG8mWEaRJ5WT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mihCGnkUOsQ8Z7mYVF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VcxEvfDUie_k_4ybYd4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RIrngIn0GJqQUi.1tl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MxI2v32062AvvxR2077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MxI2v32062AvvxR207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1nSGAfhkCfByBeJ6J_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.MJ7i_1UeolH4wqwrA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ZgMuJXEUupxnO1cw0ze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dhmqLZuE2NjKqyZTQa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t5M0SeNE2DNIOXbPFz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mqFZn2GECB1JukyZzD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nSr4W1LEy6OOyUxDqm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hbjyziEWjk8HhUssM_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rfZHtu10ayrIvGl3bg2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aYVgi1pEO0k95bzdp4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UecfL7LkC8ha_3P24h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4Q0InZ0qNWtypSwD0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QN7niDKEWDGdPYzLK7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Sb8uElIUavtJw.8sL_1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YVUcqWo0KDKbgUKsB0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w5fXeAEWcHPC1t3Ek.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zvWH.q0OledLtQChwt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Fw_9pkpUeXadwXQ5fUW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2bNKml9UiuXRNYKORVD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ZZru6pUyEzKKjxl9Q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BTvlmwSESYSQoTi.WE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Md_3Jxm0S_gVDf7cO7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ICJKlFk.ZBpK2lgSt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YTZWShEuQ.CbiU7Lzb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7JrRpnMEaSU80im8CH3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tod5LeLEacBqkdeJkO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zi_DaNKkaDQKaTpQAsO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l2hoPnaECpRrn1uvux6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PjfDT7SEalZyBciAmXu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Oe2bidyEuwYCtYECIH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GHHINsgkW8v_RsVKwxW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kWyT5FJEuPPwlwxP5k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5mkCexWUKZ2MFAiqbB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6FdtWQckqz.qWYXEuqg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khg6yfpEKm7PHV1icx.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Cm6z6NjkShLMGZVPmT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3a80Gyf0ChekSTLoXl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4AhwOvpEmLr_JnkLyzD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Pb_hdH502A.0SBYcR6X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gpdnJ7wEumjCafPmHus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S40rt1j0iyZf6h32jGp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q_HQzqyUmDc0SB9AWx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xUpQetkCN9alXmD7m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fWjqvPjE6YIJWff5Xl7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KxpUw09EeYnVhz3ddkV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zIbLw0lkGrQhAvXR71d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XweTrkQ0ObWKJzVGwW5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rXAU_7gUanpydG.Ri0.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sU9MvhBEODbjHMVBG7d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q_rs6V4UCKLOOc1az3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Ix0tbgA0udMmH6WBFf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MPP1OMiEGHrfI2mvH2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Kb9KSZd0yuvXwkw8rqG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M1NDd8EWkj20maf.t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Do4oqWT0CHrXQrNgjh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gmO8zf.EqRzfva_1MO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dlQJ.sUunc.1YNteIx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KOWrhOcUKKXIukdJh6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YWW41jeEWmiIySn4gov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62uAoGEGWkM9dmZ5k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e4KeS.kUif_sT.J9E.S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MbXY8YJkmBBXyirwnLx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If_3Z09Ea6tsLaqqn9.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Bh_Sy22U2e7HCyZy_u8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9_DgKlKkaKuPEGn_8V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imK8GujU23bD_J9xdT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AK48nVOU.PMz9c2Tj6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1yT5dTn0KfU5Q6F1Yy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7Prqfiq0SaqzcOs1Ew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GR199sUS98OmBWS1I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kH3lfeWEu.rxlGQmFi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UZa8qvk.o0yX8THD8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IczxDb06uPJvpCOaP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2pOmjEH0mTTvxs5I0g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xNarxckmdxsMf9Pl2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uUu.JZUeG8dfV3GTf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S_pB2qkGGFIAfn2p7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9_DgKlKkaKuPEGn_8V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2pOmjEH0mTTvxs5I0g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Wl7W8o60iGK5paSCRn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Wl7W8o60iGK5paSCRn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tawGqg1UGD0_WIQ0km2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5m25GekqOATNVLoQS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pZUvrC4EuWSofMS9jU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1nSGAfhkCfByBeJ6J_3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44Q0InZ0qNWtypSwD0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ICJKlFk.ZBpK2lgSt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5mkCexWUKZ2MFAiqbB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fWjqvPjE6YIJWff5Xl7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KVJmuSTUKjK6MCOfJo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imK8GujU23bD_J9xdT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AK48nVOU.PMz9c2Tj6.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1yT5dTn0KfU5Q6F1Yy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7Prqfiq0SaqzcOs1Ew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GR199sUS98OmBWS1I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kH3lfeWEu.rxlGQmFi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tawGqg1UGD0_WIQ0km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UZa8qvk.o0yX8THD8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IczxDb06uPJvpCOaP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xNarxckmdxsMf9Pl2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uUu.JZUeG8dfV3GTf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S_pB2qkGGFIAfn2p7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Gf9xUQkOQNGV2vIFI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S_njibsECeSYJo2reJ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65m25GekqOATNVLoQS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7mUN5JT0iXrfschovDv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8JKfoJdkSUwPmUx2564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jkJzqeg0KmuRPHkOaU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vvywMyGEmawOS91oMU_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1xLrsFekC6QfT0sZ.5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wQ0Bg1L0297EhTnrIF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H2TNBeUGF1LdDBnXa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nV0Q8gW0CY2fIimnKe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Ce9eqKp0mN.0MtnjEHCQ"/>
</p:tagLst>
</file>

<file path=ppt/theme/theme1.xml><?xml version="1.0" encoding="utf-8"?>
<a:theme xmlns:a="http://schemas.openxmlformats.org/drawingml/2006/main" name="ATTSU331[1]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FF8D28"/>
      </a:accent2>
      <a:accent3>
        <a:srgbClr val="0077B2"/>
      </a:accent3>
      <a:accent4>
        <a:srgbClr val="D11F25"/>
      </a:accent4>
      <a:accent5>
        <a:srgbClr val="DBA215"/>
      </a:accent5>
      <a:accent6>
        <a:srgbClr val="808080"/>
      </a:accent6>
      <a:hlink>
        <a:srgbClr val="0077B2"/>
      </a:hlink>
      <a:folHlink>
        <a:srgbClr val="D11F25"/>
      </a:folHlink>
    </a:clrScheme>
    <a:fontScheme name="Custom 101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8D8D8"/>
        </a:accent1>
        <a:accent2>
          <a:srgbClr val="FF8D28"/>
        </a:accent2>
        <a:accent3>
          <a:srgbClr val="0077B2"/>
        </a:accent3>
        <a:accent4>
          <a:srgbClr val="D11F25"/>
        </a:accent4>
        <a:accent5>
          <a:srgbClr val="DBA215"/>
        </a:accent5>
        <a:accent6>
          <a:srgbClr val="808080"/>
        </a:accent6>
        <a:hlink>
          <a:srgbClr val="0077B2"/>
        </a:hlink>
        <a:folHlink>
          <a:srgbClr val="D11F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ATTSU331[1]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FF8D28"/>
      </a:accent2>
      <a:accent3>
        <a:srgbClr val="0077B2"/>
      </a:accent3>
      <a:accent4>
        <a:srgbClr val="D11F25"/>
      </a:accent4>
      <a:accent5>
        <a:srgbClr val="DBA215"/>
      </a:accent5>
      <a:accent6>
        <a:srgbClr val="808080"/>
      </a:accent6>
      <a:hlink>
        <a:srgbClr val="0077B2"/>
      </a:hlink>
      <a:folHlink>
        <a:srgbClr val="D11F25"/>
      </a:folHlink>
    </a:clrScheme>
    <a:fontScheme name="Custom 101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8D8D8"/>
        </a:accent1>
        <a:accent2>
          <a:srgbClr val="FF8D28"/>
        </a:accent2>
        <a:accent3>
          <a:srgbClr val="0077B2"/>
        </a:accent3>
        <a:accent4>
          <a:srgbClr val="D11F25"/>
        </a:accent4>
        <a:accent5>
          <a:srgbClr val="DBA215"/>
        </a:accent5>
        <a:accent6>
          <a:srgbClr val="808080"/>
        </a:accent6>
        <a:hlink>
          <a:srgbClr val="0077B2"/>
        </a:hlink>
        <a:folHlink>
          <a:srgbClr val="D11F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TSU331[1]</Template>
  <TotalTime>23522</TotalTime>
  <Words>1080</Words>
  <Application>Microsoft Macintosh PowerPoint</Application>
  <PresentationFormat>On-screen Show (4:3)</PresentationFormat>
  <Paragraphs>155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TTSU331[1]</vt:lpstr>
      <vt:lpstr>1_ATTSU331[1]</vt:lpstr>
      <vt:lpstr>think-cell Slide</vt:lpstr>
      <vt:lpstr>Chart</vt:lpstr>
      <vt:lpstr>Հավելված 4  ՀՀ կառավարության 2013 թվականի  - հոկտեմբերի -ի N - որոշման </vt:lpstr>
      <vt:lpstr>Երկարաժամկետ գործառնությունների իրականացման համար տեղական ավիափոխադրողին անհրաժեշտ է բարձրակարգ ցանց և գործունեության պրոֆեսիոնալ կազմակերպում</vt:lpstr>
      <vt:lpstr>Ծախսերի և եկամտի օպտիմալացման նպատակով պահանջվում է ցանցի հմուտ կառավարում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suring competitive and sustainable airline service provision in Armenia</dc:title>
  <dc:creator>Jishnu AV</dc:creator>
  <cp:lastModifiedBy>Arman Khachaturyan</cp:lastModifiedBy>
  <cp:revision>4301</cp:revision>
  <cp:lastPrinted>2013-09-19T16:44:14Z</cp:lastPrinted>
  <dcterms:created xsi:type="dcterms:W3CDTF">2013-07-18T20:53:59Z</dcterms:created>
  <dcterms:modified xsi:type="dcterms:W3CDTF">2013-10-20T16:0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Jishnu AV</vt:lpwstr>
  </property>
  <property fmtid="{D5CDD505-2E9C-101B-9397-08002B2CF9AE}" pid="11" name="VGCompatibilityCheck Run On ">
    <vt:lpwstr>7/19/2013 2:34:53 AM</vt:lpwstr>
  </property>
  <property fmtid="{D5CDD505-2E9C-101B-9397-08002B2CF9AE}" pid="12" name="Office2010WasSaved">
    <vt:lpwstr>1</vt:lpwstr>
  </property>
</Properties>
</file>